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84" r:id="rId4"/>
    <p:sldMasterId id="2147483696" r:id="rId5"/>
  </p:sldMasterIdLst>
  <p:notesMasterIdLst>
    <p:notesMasterId r:id="rId21"/>
  </p:notesMasterIdLst>
  <p:sldIdLst>
    <p:sldId id="292" r:id="rId6"/>
    <p:sldId id="341" r:id="rId7"/>
    <p:sldId id="294" r:id="rId8"/>
    <p:sldId id="296" r:id="rId9"/>
    <p:sldId id="361" r:id="rId10"/>
    <p:sldId id="353" r:id="rId11"/>
    <p:sldId id="357" r:id="rId12"/>
    <p:sldId id="358" r:id="rId13"/>
    <p:sldId id="354" r:id="rId14"/>
    <p:sldId id="360" r:id="rId15"/>
    <p:sldId id="359" r:id="rId16"/>
    <p:sldId id="355" r:id="rId17"/>
    <p:sldId id="356" r:id="rId18"/>
    <p:sldId id="347" r:id="rId19"/>
    <p:sldId id="351" r:id="rId20"/>
  </p:sldIdLst>
  <p:sldSz cx="12192000" cy="6858000"/>
  <p:notesSz cx="6858000" cy="8912225"/>
  <p:embeddedFontLst>
    <p:embeddedFont>
      <p:font typeface="Franklin Gothic Demi Cond" panose="020B0706030402020204" pitchFamily="34" charset="0"/>
      <p:regular r:id="rId22"/>
    </p:embeddedFont>
    <p:embeddedFont>
      <p:font typeface="Karla" pitchFamily="2" charset="0"/>
      <p:regular r:id="rId23"/>
      <p:bold r:id="rId24"/>
      <p:italic r:id="rId25"/>
      <p:boldItalic r:id="rId26"/>
    </p:embeddedFont>
    <p:embeddedFont>
      <p:font typeface="Montserrat" panose="00000500000000000000" pitchFamily="2" charset="0"/>
      <p:regular r:id="rId27"/>
      <p:bold r:id="rId28"/>
      <p:italic r:id="rId29"/>
      <p:boldItalic r:id="rId30"/>
    </p:embeddedFont>
    <p:embeddedFont>
      <p:font typeface="Segoe UI" panose="020B0502040204020203" pitchFamily="34" charset="0"/>
      <p:regular r:id="rId31"/>
      <p:bold r:id="rId32"/>
      <p:italic r:id="rId33"/>
      <p:boldItalic r:id="rId34"/>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homas hilliard" initials="" lastIdx="3" clrIdx="0"/>
  <p:cmAuthor id="1" name="May, Chad" initials="MC" lastIdx="3" clrIdx="1">
    <p:extLst>
      <p:ext uri="{19B8F6BF-5375-455C-9EA6-DF929625EA0E}">
        <p15:presenceInfo xmlns:p15="http://schemas.microsoft.com/office/powerpoint/2012/main" userId="S-1-5-21-3342024681-333314647-251681998-22349" providerId="AD"/>
      </p:ext>
    </p:extLst>
  </p:cmAuthor>
  <p:cmAuthor id="2" name="McNamara, Dillon" initials="MD" lastIdx="3" clrIdx="2">
    <p:extLst>
      <p:ext uri="{19B8F6BF-5375-455C-9EA6-DF929625EA0E}">
        <p15:presenceInfo xmlns:p15="http://schemas.microsoft.com/office/powerpoint/2012/main" userId="S-1-5-21-3342024681-333314647-251681998-21905" providerId="AD"/>
      </p:ext>
    </p:extLst>
  </p:cmAuthor>
  <p:cmAuthor id="3" name="Thachik, Stefani" initials="TS" lastIdx="22" clrIdx="3">
    <p:extLst>
      <p:ext uri="{19B8F6BF-5375-455C-9EA6-DF929625EA0E}">
        <p15:presenceInfo xmlns:p15="http://schemas.microsoft.com/office/powerpoint/2012/main" userId="S-1-5-21-3342024681-333314647-251681998-22386" providerId="AD"/>
      </p:ext>
    </p:extLst>
  </p:cmAuthor>
  <p:cmAuthor id="4" name="Bethea, Angela" initials="BA" lastIdx="3" clrIdx="4">
    <p:extLst>
      <p:ext uri="{19B8F6BF-5375-455C-9EA6-DF929625EA0E}">
        <p15:presenceInfo xmlns:p15="http://schemas.microsoft.com/office/powerpoint/2012/main" userId="S-1-5-21-3342024681-333314647-251681998-18652" providerId="AD"/>
      </p:ext>
    </p:extLst>
  </p:cmAuthor>
  <p:cmAuthor id="5" name="Patel, Hema [OSHE]" initials="PH[" lastIdx="3" clrIdx="5">
    <p:extLst>
      <p:ext uri="{19B8F6BF-5375-455C-9EA6-DF929625EA0E}">
        <p15:presenceInfo xmlns:p15="http://schemas.microsoft.com/office/powerpoint/2012/main" userId="S-1-5-21-3342024681-333314647-251681998-2674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29F45"/>
    <a:srgbClr val="0B3954"/>
    <a:srgbClr val="093953"/>
    <a:srgbClr val="808A22"/>
    <a:srgbClr val="549E39"/>
    <a:srgbClr val="C0CF3A"/>
    <a:srgbClr val="328C99"/>
    <a:srgbClr val="94D07F"/>
    <a:srgbClr val="66A64E"/>
    <a:srgbClr val="D7573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7DDB754-5C6C-3959-0841-386BE6BF6E10}" v="12" dt="2024-07-16T16:44:50.30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5" d="100"/>
          <a:sy n="65" d="100"/>
        </p:scale>
        <p:origin x="700" y="4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5.fntdata"/><Relationship Id="rId39" Type="http://schemas.openxmlformats.org/officeDocument/2006/relationships/tableStyles" Target="tableStyles.xml"/><Relationship Id="rId21" Type="http://schemas.openxmlformats.org/officeDocument/2006/relationships/notesMaster" Target="notesMasters/notesMaster1.xml"/><Relationship Id="rId34" Type="http://schemas.openxmlformats.org/officeDocument/2006/relationships/font" Target="fonts/font13.fntdata"/><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font" Target="fonts/font8.fntdata"/><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3.fntdata"/><Relationship Id="rId32" Type="http://schemas.openxmlformats.org/officeDocument/2006/relationships/font" Target="fonts/font11.fntdata"/><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2.fntdata"/><Relationship Id="rId28" Type="http://schemas.openxmlformats.org/officeDocument/2006/relationships/font" Target="fonts/font7.fntdata"/><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10.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1.fntdata"/><Relationship Id="rId27" Type="http://schemas.openxmlformats.org/officeDocument/2006/relationships/font" Target="fonts/font6.fntdata"/><Relationship Id="rId30" Type="http://schemas.openxmlformats.org/officeDocument/2006/relationships/font" Target="fonts/font9.fntdata"/><Relationship Id="rId35" Type="http://schemas.openxmlformats.org/officeDocument/2006/relationships/commentAuthors" Target="commentAuthor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4.fntdata"/><Relationship Id="rId33" Type="http://schemas.openxmlformats.org/officeDocument/2006/relationships/font" Target="fonts/font12.fntdata"/><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anklin, Stephanie [OSHE]" userId="S::stephanie.shanklin@oshe.nj.gov::b636a577-f330-4ab1-8a2e-2044a82cd57d" providerId="AD" clId="Web-{97DDB754-5C6C-3959-0841-386BE6BF6E10}"/>
    <pc:docChg chg="modSld">
      <pc:chgData name="Shanklin, Stephanie [OSHE]" userId="S::stephanie.shanklin@oshe.nj.gov::b636a577-f330-4ab1-8a2e-2044a82cd57d" providerId="AD" clId="Web-{97DDB754-5C6C-3959-0841-386BE6BF6E10}" dt="2024-07-16T16:45:20.103" v="7" actId="20577"/>
      <pc:docMkLst>
        <pc:docMk/>
      </pc:docMkLst>
      <pc:sldChg chg="modSp">
        <pc:chgData name="Shanklin, Stephanie [OSHE]" userId="S::stephanie.shanklin@oshe.nj.gov::b636a577-f330-4ab1-8a2e-2044a82cd57d" providerId="AD" clId="Web-{97DDB754-5C6C-3959-0841-386BE6BF6E10}" dt="2024-07-16T16:44:50.306" v="5" actId="20577"/>
        <pc:sldMkLst>
          <pc:docMk/>
          <pc:sldMk cId="2022836482" sldId="294"/>
        </pc:sldMkLst>
        <pc:spChg chg="mod">
          <ac:chgData name="Shanklin, Stephanie [OSHE]" userId="S::stephanie.shanklin@oshe.nj.gov::b636a577-f330-4ab1-8a2e-2044a82cd57d" providerId="AD" clId="Web-{97DDB754-5C6C-3959-0841-386BE6BF6E10}" dt="2024-07-16T16:44:50.306" v="5" actId="20577"/>
          <ac:spMkLst>
            <pc:docMk/>
            <pc:sldMk cId="2022836482" sldId="294"/>
            <ac:spMk id="7" creationId="{00000000-0000-0000-0000-000000000000}"/>
          </ac:spMkLst>
        </pc:spChg>
      </pc:sldChg>
      <pc:sldChg chg="modSp">
        <pc:chgData name="Shanklin, Stephanie [OSHE]" userId="S::stephanie.shanklin@oshe.nj.gov::b636a577-f330-4ab1-8a2e-2044a82cd57d" providerId="AD" clId="Web-{97DDB754-5C6C-3959-0841-386BE6BF6E10}" dt="2024-07-16T16:45:20.103" v="7" actId="20577"/>
        <pc:sldMkLst>
          <pc:docMk/>
          <pc:sldMk cId="520196591" sldId="296"/>
        </pc:sldMkLst>
        <pc:graphicFrameChg chg="modGraphic">
          <ac:chgData name="Shanklin, Stephanie [OSHE]" userId="S::stephanie.shanklin@oshe.nj.gov::b636a577-f330-4ab1-8a2e-2044a82cd57d" providerId="AD" clId="Web-{97DDB754-5C6C-3959-0841-386BE6BF6E10}" dt="2024-07-16T16:45:20.103" v="7" actId="20577"/>
          <ac:graphicFrameMkLst>
            <pc:docMk/>
            <pc:sldMk cId="520196591" sldId="296"/>
            <ac:graphicFrameMk id="5" creationId="{18A180C9-34EB-72E8-8271-FA349621F8F7}"/>
          </ac:graphicFrameMkLst>
        </pc:graphicFrameChg>
      </pc:sldChg>
    </pc:docChg>
  </pc:docChgLst>
  <pc:docChgLst>
    <pc:chgData name="Shanklin, Stephanie [OSHE]" userId="S::stephanie.shanklin@oshe.nj.gov::b636a577-f330-4ab1-8a2e-2044a82cd57d" providerId="AD" clId="Web-{3B179691-592F-4AE6-B931-419DCD862780}"/>
    <pc:docChg chg="addSld delSld modSld">
      <pc:chgData name="Shanklin, Stephanie [OSHE]" userId="S::stephanie.shanklin@oshe.nj.gov::b636a577-f330-4ab1-8a2e-2044a82cd57d" providerId="AD" clId="Web-{3B179691-592F-4AE6-B931-419DCD862780}" dt="2024-06-03T13:21:18.448" v="218"/>
      <pc:docMkLst>
        <pc:docMk/>
      </pc:docMkLst>
      <pc:sldChg chg="modSp">
        <pc:chgData name="Shanklin, Stephanie [OSHE]" userId="S::stephanie.shanklin@oshe.nj.gov::b636a577-f330-4ab1-8a2e-2044a82cd57d" providerId="AD" clId="Web-{3B179691-592F-4AE6-B931-419DCD862780}" dt="2024-06-03T12:50:23.974" v="5" actId="20577"/>
        <pc:sldMkLst>
          <pc:docMk/>
          <pc:sldMk cId="2022836482" sldId="294"/>
        </pc:sldMkLst>
        <pc:spChg chg="mod">
          <ac:chgData name="Shanklin, Stephanie [OSHE]" userId="S::stephanie.shanklin@oshe.nj.gov::b636a577-f330-4ab1-8a2e-2044a82cd57d" providerId="AD" clId="Web-{3B179691-592F-4AE6-B931-419DCD862780}" dt="2024-06-03T12:50:23.974" v="5" actId="20577"/>
          <ac:spMkLst>
            <pc:docMk/>
            <pc:sldMk cId="2022836482" sldId="294"/>
            <ac:spMk id="7" creationId="{00000000-0000-0000-0000-000000000000}"/>
          </ac:spMkLst>
        </pc:spChg>
      </pc:sldChg>
      <pc:sldChg chg="addSp delSp modSp mod setBg">
        <pc:chgData name="Shanklin, Stephanie [OSHE]" userId="S::stephanie.shanklin@oshe.nj.gov::b636a577-f330-4ab1-8a2e-2044a82cd57d" providerId="AD" clId="Web-{3B179691-592F-4AE6-B931-419DCD862780}" dt="2024-06-03T12:55:42.362" v="6"/>
        <pc:sldMkLst>
          <pc:docMk/>
          <pc:sldMk cId="520196591" sldId="296"/>
        </pc:sldMkLst>
        <pc:spChg chg="mod">
          <ac:chgData name="Shanklin, Stephanie [OSHE]" userId="S::stephanie.shanklin@oshe.nj.gov::b636a577-f330-4ab1-8a2e-2044a82cd57d" providerId="AD" clId="Web-{3B179691-592F-4AE6-B931-419DCD862780}" dt="2024-06-03T12:55:42.362" v="6"/>
          <ac:spMkLst>
            <pc:docMk/>
            <pc:sldMk cId="520196591" sldId="296"/>
            <ac:spMk id="2" creationId="{00000000-0000-0000-0000-000000000000}"/>
          </ac:spMkLst>
        </pc:spChg>
        <pc:spChg chg="del">
          <ac:chgData name="Shanklin, Stephanie [OSHE]" userId="S::stephanie.shanklin@oshe.nj.gov::b636a577-f330-4ab1-8a2e-2044a82cd57d" providerId="AD" clId="Web-{3B179691-592F-4AE6-B931-419DCD862780}" dt="2024-06-03T12:55:42.362" v="6"/>
          <ac:spMkLst>
            <pc:docMk/>
            <pc:sldMk cId="520196591" sldId="296"/>
            <ac:spMk id="3" creationId="{00000000-0000-0000-0000-000000000000}"/>
          </ac:spMkLst>
        </pc:spChg>
        <pc:spChg chg="add">
          <ac:chgData name="Shanklin, Stephanie [OSHE]" userId="S::stephanie.shanklin@oshe.nj.gov::b636a577-f330-4ab1-8a2e-2044a82cd57d" providerId="AD" clId="Web-{3B179691-592F-4AE6-B931-419DCD862780}" dt="2024-06-03T12:55:42.362" v="6"/>
          <ac:spMkLst>
            <pc:docMk/>
            <pc:sldMk cId="520196591" sldId="296"/>
            <ac:spMk id="9" creationId="{EE1530B0-6F96-46C0-8B3E-3215CB756BE4}"/>
          </ac:spMkLst>
        </pc:spChg>
        <pc:spChg chg="add">
          <ac:chgData name="Shanklin, Stephanie [OSHE]" userId="S::stephanie.shanklin@oshe.nj.gov::b636a577-f330-4ab1-8a2e-2044a82cd57d" providerId="AD" clId="Web-{3B179691-592F-4AE6-B931-419DCD862780}" dt="2024-06-03T12:55:42.362" v="6"/>
          <ac:spMkLst>
            <pc:docMk/>
            <pc:sldMk cId="520196591" sldId="296"/>
            <ac:spMk id="11" creationId="{754910CF-1B56-45D3-960A-E89F7B3B9131}"/>
          </ac:spMkLst>
        </pc:spChg>
        <pc:spChg chg="add">
          <ac:chgData name="Shanklin, Stephanie [OSHE]" userId="S::stephanie.shanklin@oshe.nj.gov::b636a577-f330-4ab1-8a2e-2044a82cd57d" providerId="AD" clId="Web-{3B179691-592F-4AE6-B931-419DCD862780}" dt="2024-06-03T12:55:42.362" v="6"/>
          <ac:spMkLst>
            <pc:docMk/>
            <pc:sldMk cId="520196591" sldId="296"/>
            <ac:spMk id="13" creationId="{6669F804-A677-4B75-95F4-A5E4426FB774}"/>
          </ac:spMkLst>
        </pc:spChg>
        <pc:graphicFrameChg chg="add">
          <ac:chgData name="Shanklin, Stephanie [OSHE]" userId="S::stephanie.shanklin@oshe.nj.gov::b636a577-f330-4ab1-8a2e-2044a82cd57d" providerId="AD" clId="Web-{3B179691-592F-4AE6-B931-419DCD862780}" dt="2024-06-03T12:55:42.362" v="6"/>
          <ac:graphicFrameMkLst>
            <pc:docMk/>
            <pc:sldMk cId="520196591" sldId="296"/>
            <ac:graphicFrameMk id="5" creationId="{18A180C9-34EB-72E8-8271-FA349621F8F7}"/>
          </ac:graphicFrameMkLst>
        </pc:graphicFrameChg>
      </pc:sldChg>
      <pc:sldChg chg="addSp modSp mod setBg">
        <pc:chgData name="Shanklin, Stephanie [OSHE]" userId="S::stephanie.shanklin@oshe.nj.gov::b636a577-f330-4ab1-8a2e-2044a82cd57d" providerId="AD" clId="Web-{3B179691-592F-4AE6-B931-419DCD862780}" dt="2024-06-03T13:01:28.282" v="7"/>
        <pc:sldMkLst>
          <pc:docMk/>
          <pc:sldMk cId="1854559910" sldId="341"/>
        </pc:sldMkLst>
        <pc:spChg chg="mod">
          <ac:chgData name="Shanklin, Stephanie [OSHE]" userId="S::stephanie.shanklin@oshe.nj.gov::b636a577-f330-4ab1-8a2e-2044a82cd57d" providerId="AD" clId="Web-{3B179691-592F-4AE6-B931-419DCD862780}" dt="2024-06-03T13:01:28.282" v="7"/>
          <ac:spMkLst>
            <pc:docMk/>
            <pc:sldMk cId="1854559910" sldId="341"/>
            <ac:spMk id="2" creationId="{00000000-0000-0000-0000-000000000000}"/>
          </ac:spMkLst>
        </pc:spChg>
        <pc:spChg chg="add">
          <ac:chgData name="Shanklin, Stephanie [OSHE]" userId="S::stephanie.shanklin@oshe.nj.gov::b636a577-f330-4ab1-8a2e-2044a82cd57d" providerId="AD" clId="Web-{3B179691-592F-4AE6-B931-419DCD862780}" dt="2024-06-03T13:01:28.282" v="7"/>
          <ac:spMkLst>
            <pc:docMk/>
            <pc:sldMk cId="1854559910" sldId="341"/>
            <ac:spMk id="7" creationId="{8C6E698C-8155-4B8B-BDC9-B7299772B509}"/>
          </ac:spMkLst>
        </pc:spChg>
        <pc:spChg chg="add">
          <ac:chgData name="Shanklin, Stephanie [OSHE]" userId="S::stephanie.shanklin@oshe.nj.gov::b636a577-f330-4ab1-8a2e-2044a82cd57d" providerId="AD" clId="Web-{3B179691-592F-4AE6-B931-419DCD862780}" dt="2024-06-03T13:01:28.282" v="7"/>
          <ac:spMkLst>
            <pc:docMk/>
            <pc:sldMk cId="1854559910" sldId="341"/>
            <ac:spMk id="9" creationId="{0EEF5601-A8BC-411D-AA64-3E79320BA122}"/>
          </ac:spMkLst>
        </pc:spChg>
        <pc:spChg chg="add">
          <ac:chgData name="Shanklin, Stephanie [OSHE]" userId="S::stephanie.shanklin@oshe.nj.gov::b636a577-f330-4ab1-8a2e-2044a82cd57d" providerId="AD" clId="Web-{3B179691-592F-4AE6-B931-419DCD862780}" dt="2024-06-03T13:01:28.282" v="7"/>
          <ac:spMkLst>
            <pc:docMk/>
            <pc:sldMk cId="1854559910" sldId="341"/>
            <ac:spMk id="11" creationId="{33209156-242F-4B26-8D07-CEB2B68A9F9A}"/>
          </ac:spMkLst>
        </pc:spChg>
      </pc:sldChg>
      <pc:sldChg chg="addSp delSp modSp mod setBg">
        <pc:chgData name="Shanklin, Stephanie [OSHE]" userId="S::stephanie.shanklin@oshe.nj.gov::b636a577-f330-4ab1-8a2e-2044a82cd57d" providerId="AD" clId="Web-{3B179691-592F-4AE6-B931-419DCD862780}" dt="2024-06-03T13:21:18.448" v="218"/>
        <pc:sldMkLst>
          <pc:docMk/>
          <pc:sldMk cId="470187814" sldId="347"/>
        </pc:sldMkLst>
        <pc:spChg chg="add mod">
          <ac:chgData name="Shanklin, Stephanie [OSHE]" userId="S::stephanie.shanklin@oshe.nj.gov::b636a577-f330-4ab1-8a2e-2044a82cd57d" providerId="AD" clId="Web-{3B179691-592F-4AE6-B931-419DCD862780}" dt="2024-06-03T13:21:18.448" v="218"/>
          <ac:spMkLst>
            <pc:docMk/>
            <pc:sldMk cId="470187814" sldId="347"/>
            <ac:spMk id="2" creationId="{BD8DCFB8-CBD2-8AC1-5DA9-B136926B2A37}"/>
          </ac:spMkLst>
        </pc:spChg>
        <pc:spChg chg="mod ord">
          <ac:chgData name="Shanklin, Stephanie [OSHE]" userId="S::stephanie.shanklin@oshe.nj.gov::b636a577-f330-4ab1-8a2e-2044a82cd57d" providerId="AD" clId="Web-{3B179691-592F-4AE6-B931-419DCD862780}" dt="2024-06-03T13:21:18.448" v="218"/>
          <ac:spMkLst>
            <pc:docMk/>
            <pc:sldMk cId="470187814" sldId="347"/>
            <ac:spMk id="3" creationId="{00000000-0000-0000-0000-000000000000}"/>
          </ac:spMkLst>
        </pc:spChg>
        <pc:spChg chg="add">
          <ac:chgData name="Shanklin, Stephanie [OSHE]" userId="S::stephanie.shanklin@oshe.nj.gov::b636a577-f330-4ab1-8a2e-2044a82cd57d" providerId="AD" clId="Web-{3B179691-592F-4AE6-B931-419DCD862780}" dt="2024-06-03T13:19:40.495" v="203"/>
          <ac:spMkLst>
            <pc:docMk/>
            <pc:sldMk cId="470187814" sldId="347"/>
            <ac:spMk id="10" creationId="{F240A2FC-E2C3-458D-96B4-5DF9028D93A5}"/>
          </ac:spMkLst>
        </pc:spChg>
        <pc:spChg chg="add">
          <ac:chgData name="Shanklin, Stephanie [OSHE]" userId="S::stephanie.shanklin@oshe.nj.gov::b636a577-f330-4ab1-8a2e-2044a82cd57d" providerId="AD" clId="Web-{3B179691-592F-4AE6-B931-419DCD862780}" dt="2024-06-03T13:19:40.495" v="203"/>
          <ac:spMkLst>
            <pc:docMk/>
            <pc:sldMk cId="470187814" sldId="347"/>
            <ac:spMk id="12" creationId="{5F097929-F3D6-4D1F-8AFC-CF348171A9E1}"/>
          </ac:spMkLst>
        </pc:spChg>
        <pc:spChg chg="add">
          <ac:chgData name="Shanklin, Stephanie [OSHE]" userId="S::stephanie.shanklin@oshe.nj.gov::b636a577-f330-4ab1-8a2e-2044a82cd57d" providerId="AD" clId="Web-{3B179691-592F-4AE6-B931-419DCD862780}" dt="2024-06-03T13:19:40.495" v="203"/>
          <ac:spMkLst>
            <pc:docMk/>
            <pc:sldMk cId="470187814" sldId="347"/>
            <ac:spMk id="16" creationId="{2779F603-B669-4AD6-82F9-E09F76165B99}"/>
          </ac:spMkLst>
        </pc:spChg>
        <pc:spChg chg="add">
          <ac:chgData name="Shanklin, Stephanie [OSHE]" userId="S::stephanie.shanklin@oshe.nj.gov::b636a577-f330-4ab1-8a2e-2044a82cd57d" providerId="AD" clId="Web-{3B179691-592F-4AE6-B931-419DCD862780}" dt="2024-06-03T13:19:40.495" v="203"/>
          <ac:spMkLst>
            <pc:docMk/>
            <pc:sldMk cId="470187814" sldId="347"/>
            <ac:spMk id="20" creationId="{BC0D1FC6-352C-4C7D-825F-C4E2F6A8059C}"/>
          </ac:spMkLst>
        </pc:spChg>
        <pc:spChg chg="add">
          <ac:chgData name="Shanklin, Stephanie [OSHE]" userId="S::stephanie.shanklin@oshe.nj.gov::b636a577-f330-4ab1-8a2e-2044a82cd57d" providerId="AD" clId="Web-{3B179691-592F-4AE6-B931-419DCD862780}" dt="2024-06-03T13:19:40.495" v="203"/>
          <ac:spMkLst>
            <pc:docMk/>
            <pc:sldMk cId="470187814" sldId="347"/>
            <ac:spMk id="22" creationId="{541AFC2C-CD98-4478-AB71-1A864026D92F}"/>
          </ac:spMkLst>
        </pc:spChg>
        <pc:spChg chg="add del">
          <ac:chgData name="Shanklin, Stephanie [OSHE]" userId="S::stephanie.shanklin@oshe.nj.gov::b636a577-f330-4ab1-8a2e-2044a82cd57d" providerId="AD" clId="Web-{3B179691-592F-4AE6-B931-419DCD862780}" dt="2024-06-03T13:20:07.714" v="206"/>
          <ac:spMkLst>
            <pc:docMk/>
            <pc:sldMk cId="470187814" sldId="347"/>
            <ac:spMk id="24" creationId="{F240A2FC-E2C3-458D-96B4-5DF9028D93A5}"/>
          </ac:spMkLst>
        </pc:spChg>
        <pc:spChg chg="add del">
          <ac:chgData name="Shanklin, Stephanie [OSHE]" userId="S::stephanie.shanklin@oshe.nj.gov::b636a577-f330-4ab1-8a2e-2044a82cd57d" providerId="AD" clId="Web-{3B179691-592F-4AE6-B931-419DCD862780}" dt="2024-06-03T13:20:07.714" v="206"/>
          <ac:spMkLst>
            <pc:docMk/>
            <pc:sldMk cId="470187814" sldId="347"/>
            <ac:spMk id="25" creationId="{5F097929-F3D6-4D1F-8AFC-CF348171A9E1}"/>
          </ac:spMkLst>
        </pc:spChg>
        <pc:spChg chg="add del">
          <ac:chgData name="Shanklin, Stephanie [OSHE]" userId="S::stephanie.shanklin@oshe.nj.gov::b636a577-f330-4ab1-8a2e-2044a82cd57d" providerId="AD" clId="Web-{3B179691-592F-4AE6-B931-419DCD862780}" dt="2024-06-03T13:20:07.714" v="206"/>
          <ac:spMkLst>
            <pc:docMk/>
            <pc:sldMk cId="470187814" sldId="347"/>
            <ac:spMk id="27" creationId="{EE362070-691D-44DB-98D4-BC61774B0E61}"/>
          </ac:spMkLst>
        </pc:spChg>
        <pc:spChg chg="add del">
          <ac:chgData name="Shanklin, Stephanie [OSHE]" userId="S::stephanie.shanklin@oshe.nj.gov::b636a577-f330-4ab1-8a2e-2044a82cd57d" providerId="AD" clId="Web-{3B179691-592F-4AE6-B931-419DCD862780}" dt="2024-06-03T13:20:07.714" v="206"/>
          <ac:spMkLst>
            <pc:docMk/>
            <pc:sldMk cId="470187814" sldId="347"/>
            <ac:spMk id="30" creationId="{3F0CE275-BAEC-48E9-B00C-1B635C68FF8C}"/>
          </ac:spMkLst>
        </pc:spChg>
        <pc:spChg chg="add del">
          <ac:chgData name="Shanklin, Stephanie [OSHE]" userId="S::stephanie.shanklin@oshe.nj.gov::b636a577-f330-4ab1-8a2e-2044a82cd57d" providerId="AD" clId="Web-{3B179691-592F-4AE6-B931-419DCD862780}" dt="2024-06-03T13:20:07.714" v="206"/>
          <ac:spMkLst>
            <pc:docMk/>
            <pc:sldMk cId="470187814" sldId="347"/>
            <ac:spMk id="31" creationId="{A22C524A-01E1-4209-AE20-DA64F7CB1824}"/>
          </ac:spMkLst>
        </pc:spChg>
        <pc:spChg chg="add del">
          <ac:chgData name="Shanklin, Stephanie [OSHE]" userId="S::stephanie.shanklin@oshe.nj.gov::b636a577-f330-4ab1-8a2e-2044a82cd57d" providerId="AD" clId="Web-{3B179691-592F-4AE6-B931-419DCD862780}" dt="2024-06-03T13:21:18.448" v="218"/>
          <ac:spMkLst>
            <pc:docMk/>
            <pc:sldMk cId="470187814" sldId="347"/>
            <ac:spMk id="33" creationId="{F240A2FC-E2C3-458D-96B4-5DF9028D93A5}"/>
          </ac:spMkLst>
        </pc:spChg>
        <pc:spChg chg="add del">
          <ac:chgData name="Shanklin, Stephanie [OSHE]" userId="S::stephanie.shanklin@oshe.nj.gov::b636a577-f330-4ab1-8a2e-2044a82cd57d" providerId="AD" clId="Web-{3B179691-592F-4AE6-B931-419DCD862780}" dt="2024-06-03T13:21:18.448" v="218"/>
          <ac:spMkLst>
            <pc:docMk/>
            <pc:sldMk cId="470187814" sldId="347"/>
            <ac:spMk id="34" creationId="{5F097929-F3D6-4D1F-8AFC-CF348171A9E1}"/>
          </ac:spMkLst>
        </pc:spChg>
        <pc:spChg chg="add del">
          <ac:chgData name="Shanklin, Stephanie [OSHE]" userId="S::stephanie.shanklin@oshe.nj.gov::b636a577-f330-4ab1-8a2e-2044a82cd57d" providerId="AD" clId="Web-{3B179691-592F-4AE6-B931-419DCD862780}" dt="2024-06-03T13:21:18.448" v="218"/>
          <ac:spMkLst>
            <pc:docMk/>
            <pc:sldMk cId="470187814" sldId="347"/>
            <ac:spMk id="36" creationId="{2779F603-B669-4AD6-82F9-E09F76165B99}"/>
          </ac:spMkLst>
        </pc:spChg>
        <pc:spChg chg="add del">
          <ac:chgData name="Shanklin, Stephanie [OSHE]" userId="S::stephanie.shanklin@oshe.nj.gov::b636a577-f330-4ab1-8a2e-2044a82cd57d" providerId="AD" clId="Web-{3B179691-592F-4AE6-B931-419DCD862780}" dt="2024-06-03T13:21:18.448" v="218"/>
          <ac:spMkLst>
            <pc:docMk/>
            <pc:sldMk cId="470187814" sldId="347"/>
            <ac:spMk id="39" creationId="{BC0D1FC6-352C-4C7D-825F-C4E2F6A8059C}"/>
          </ac:spMkLst>
        </pc:spChg>
        <pc:spChg chg="add del">
          <ac:chgData name="Shanklin, Stephanie [OSHE]" userId="S::stephanie.shanklin@oshe.nj.gov::b636a577-f330-4ab1-8a2e-2044a82cd57d" providerId="AD" clId="Web-{3B179691-592F-4AE6-B931-419DCD862780}" dt="2024-06-03T13:21:18.448" v="218"/>
          <ac:spMkLst>
            <pc:docMk/>
            <pc:sldMk cId="470187814" sldId="347"/>
            <ac:spMk id="40" creationId="{541AFC2C-CD98-4478-AB71-1A864026D92F}"/>
          </ac:spMkLst>
        </pc:spChg>
        <pc:picChg chg="del">
          <ac:chgData name="Shanklin, Stephanie [OSHE]" userId="S::stephanie.shanklin@oshe.nj.gov::b636a577-f330-4ab1-8a2e-2044a82cd57d" providerId="AD" clId="Web-{3B179691-592F-4AE6-B931-419DCD862780}" dt="2024-06-03T13:18:43.418" v="192"/>
          <ac:picMkLst>
            <pc:docMk/>
            <pc:sldMk cId="470187814" sldId="347"/>
            <ac:picMk id="4" creationId="{00000000-0000-0000-0000-000000000000}"/>
          </ac:picMkLst>
        </pc:picChg>
        <pc:picChg chg="add">
          <ac:chgData name="Shanklin, Stephanie [OSHE]" userId="S::stephanie.shanklin@oshe.nj.gov::b636a577-f330-4ab1-8a2e-2044a82cd57d" providerId="AD" clId="Web-{3B179691-592F-4AE6-B931-419DCD862780}" dt="2024-06-03T13:19:40.495" v="203"/>
          <ac:picMkLst>
            <pc:docMk/>
            <pc:sldMk cId="470187814" sldId="347"/>
            <ac:picMk id="7" creationId="{EB9CD3F6-2B2F-CF59-D5EE-FFF4816E0E52}"/>
          </ac:picMkLst>
        </pc:picChg>
        <pc:picChg chg="add del">
          <ac:chgData name="Shanklin, Stephanie [OSHE]" userId="S::stephanie.shanklin@oshe.nj.gov::b636a577-f330-4ab1-8a2e-2044a82cd57d" providerId="AD" clId="Web-{3B179691-592F-4AE6-B931-419DCD862780}" dt="2024-06-03T13:20:07.714" v="206"/>
          <ac:picMkLst>
            <pc:docMk/>
            <pc:sldMk cId="470187814" sldId="347"/>
            <ac:picMk id="29" creationId="{0DEBFCBA-A758-3138-A627-6856F737AC90}"/>
          </ac:picMkLst>
        </pc:picChg>
        <pc:picChg chg="add del">
          <ac:chgData name="Shanklin, Stephanie [OSHE]" userId="S::stephanie.shanklin@oshe.nj.gov::b636a577-f330-4ab1-8a2e-2044a82cd57d" providerId="AD" clId="Web-{3B179691-592F-4AE6-B931-419DCD862780}" dt="2024-06-03T13:21:18.448" v="218"/>
          <ac:picMkLst>
            <pc:docMk/>
            <pc:sldMk cId="470187814" sldId="347"/>
            <ac:picMk id="37" creationId="{EB9CD3F6-2B2F-CF59-D5EE-FFF4816E0E52}"/>
          </ac:picMkLst>
        </pc:picChg>
        <pc:cxnChg chg="add">
          <ac:chgData name="Shanklin, Stephanie [OSHE]" userId="S::stephanie.shanklin@oshe.nj.gov::b636a577-f330-4ab1-8a2e-2044a82cd57d" providerId="AD" clId="Web-{3B179691-592F-4AE6-B931-419DCD862780}" dt="2024-06-03T13:19:40.495" v="203"/>
          <ac:cxnSpMkLst>
            <pc:docMk/>
            <pc:sldMk cId="470187814" sldId="347"/>
            <ac:cxnSpMk id="14" creationId="{43074C91-9045-414B-B5F9-567DAE3EED25}"/>
          </ac:cxnSpMkLst>
        </pc:cxnChg>
        <pc:cxnChg chg="add">
          <ac:chgData name="Shanklin, Stephanie [OSHE]" userId="S::stephanie.shanklin@oshe.nj.gov::b636a577-f330-4ab1-8a2e-2044a82cd57d" providerId="AD" clId="Web-{3B179691-592F-4AE6-B931-419DCD862780}" dt="2024-06-03T13:19:40.495" v="203"/>
          <ac:cxnSpMkLst>
            <pc:docMk/>
            <pc:sldMk cId="470187814" sldId="347"/>
            <ac:cxnSpMk id="18" creationId="{7ABFD994-C2DC-4E7D-9411-C7FF7813EF47}"/>
          </ac:cxnSpMkLst>
        </pc:cxnChg>
        <pc:cxnChg chg="add del">
          <ac:chgData name="Shanklin, Stephanie [OSHE]" userId="S::stephanie.shanklin@oshe.nj.gov::b636a577-f330-4ab1-8a2e-2044a82cd57d" providerId="AD" clId="Web-{3B179691-592F-4AE6-B931-419DCD862780}" dt="2024-06-03T13:20:07.714" v="206"/>
          <ac:cxnSpMkLst>
            <pc:docMk/>
            <pc:sldMk cId="470187814" sldId="347"/>
            <ac:cxnSpMk id="26" creationId="{43074C91-9045-414B-B5F9-567DAE3EED25}"/>
          </ac:cxnSpMkLst>
        </pc:cxnChg>
        <pc:cxnChg chg="add del">
          <ac:chgData name="Shanklin, Stephanie [OSHE]" userId="S::stephanie.shanklin@oshe.nj.gov::b636a577-f330-4ab1-8a2e-2044a82cd57d" providerId="AD" clId="Web-{3B179691-592F-4AE6-B931-419DCD862780}" dt="2024-06-03T13:20:07.714" v="206"/>
          <ac:cxnSpMkLst>
            <pc:docMk/>
            <pc:sldMk cId="470187814" sldId="347"/>
            <ac:cxnSpMk id="28" creationId="{5A7EFE9C-DAE7-4ECA-BDB2-34E2534B8AB7}"/>
          </ac:cxnSpMkLst>
        </pc:cxnChg>
        <pc:cxnChg chg="add del">
          <ac:chgData name="Shanklin, Stephanie [OSHE]" userId="S::stephanie.shanklin@oshe.nj.gov::b636a577-f330-4ab1-8a2e-2044a82cd57d" providerId="AD" clId="Web-{3B179691-592F-4AE6-B931-419DCD862780}" dt="2024-06-03T13:21:18.448" v="218"/>
          <ac:cxnSpMkLst>
            <pc:docMk/>
            <pc:sldMk cId="470187814" sldId="347"/>
            <ac:cxnSpMk id="35" creationId="{43074C91-9045-414B-B5F9-567DAE3EED25}"/>
          </ac:cxnSpMkLst>
        </pc:cxnChg>
        <pc:cxnChg chg="add del">
          <ac:chgData name="Shanklin, Stephanie [OSHE]" userId="S::stephanie.shanklin@oshe.nj.gov::b636a577-f330-4ab1-8a2e-2044a82cd57d" providerId="AD" clId="Web-{3B179691-592F-4AE6-B931-419DCD862780}" dt="2024-06-03T13:21:18.448" v="218"/>
          <ac:cxnSpMkLst>
            <pc:docMk/>
            <pc:sldMk cId="470187814" sldId="347"/>
            <ac:cxnSpMk id="38" creationId="{7ABFD994-C2DC-4E7D-9411-C7FF7813EF47}"/>
          </ac:cxnSpMkLst>
        </pc:cxnChg>
      </pc:sldChg>
      <pc:sldChg chg="modSp">
        <pc:chgData name="Shanklin, Stephanie [OSHE]" userId="S::stephanie.shanklin@oshe.nj.gov::b636a577-f330-4ab1-8a2e-2044a82cd57d" providerId="AD" clId="Web-{3B179691-592F-4AE6-B931-419DCD862780}" dt="2024-06-03T13:21:16.964" v="217" actId="20577"/>
        <pc:sldMkLst>
          <pc:docMk/>
          <pc:sldMk cId="2521177469" sldId="352"/>
        </pc:sldMkLst>
        <pc:spChg chg="mod">
          <ac:chgData name="Shanklin, Stephanie [OSHE]" userId="S::stephanie.shanklin@oshe.nj.gov::b636a577-f330-4ab1-8a2e-2044a82cd57d" providerId="AD" clId="Web-{3B179691-592F-4AE6-B931-419DCD862780}" dt="2024-06-03T13:21:16.964" v="217" actId="20577"/>
          <ac:spMkLst>
            <pc:docMk/>
            <pc:sldMk cId="2521177469" sldId="352"/>
            <ac:spMk id="6" creationId="{00000000-0000-0000-0000-000000000000}"/>
          </ac:spMkLst>
        </pc:spChg>
      </pc:sldChg>
      <pc:sldChg chg="addSp delSp modSp mod setBg">
        <pc:chgData name="Shanklin, Stephanie [OSHE]" userId="S::stephanie.shanklin@oshe.nj.gov::b636a577-f330-4ab1-8a2e-2044a82cd57d" providerId="AD" clId="Web-{3B179691-592F-4AE6-B931-419DCD862780}" dt="2024-06-03T13:04:00.532" v="24"/>
        <pc:sldMkLst>
          <pc:docMk/>
          <pc:sldMk cId="1763538031" sldId="353"/>
        </pc:sldMkLst>
        <pc:spChg chg="mod">
          <ac:chgData name="Shanklin, Stephanie [OSHE]" userId="S::stephanie.shanklin@oshe.nj.gov::b636a577-f330-4ab1-8a2e-2044a82cd57d" providerId="AD" clId="Web-{3B179691-592F-4AE6-B931-419DCD862780}" dt="2024-06-03T13:04:00.532" v="24"/>
          <ac:spMkLst>
            <pc:docMk/>
            <pc:sldMk cId="1763538031" sldId="353"/>
            <ac:spMk id="2" creationId="{00000000-0000-0000-0000-000000000000}"/>
          </ac:spMkLst>
        </pc:spChg>
        <pc:spChg chg="del mod">
          <ac:chgData name="Shanklin, Stephanie [OSHE]" userId="S::stephanie.shanklin@oshe.nj.gov::b636a577-f330-4ab1-8a2e-2044a82cd57d" providerId="AD" clId="Web-{3B179691-592F-4AE6-B931-419DCD862780}" dt="2024-06-03T13:04:00.532" v="24"/>
          <ac:spMkLst>
            <pc:docMk/>
            <pc:sldMk cId="1763538031" sldId="353"/>
            <ac:spMk id="3" creationId="{00000000-0000-0000-0000-000000000000}"/>
          </ac:spMkLst>
        </pc:spChg>
        <pc:spChg chg="mod ord">
          <ac:chgData name="Shanklin, Stephanie [OSHE]" userId="S::stephanie.shanklin@oshe.nj.gov::b636a577-f330-4ab1-8a2e-2044a82cd57d" providerId="AD" clId="Web-{3B179691-592F-4AE6-B931-419DCD862780}" dt="2024-06-03T13:04:00.532" v="24"/>
          <ac:spMkLst>
            <pc:docMk/>
            <pc:sldMk cId="1763538031" sldId="353"/>
            <ac:spMk id="4" creationId="{00000000-0000-0000-0000-000000000000}"/>
          </ac:spMkLst>
        </pc:spChg>
        <pc:spChg chg="add del">
          <ac:chgData name="Shanklin, Stephanie [OSHE]" userId="S::stephanie.shanklin@oshe.nj.gov::b636a577-f330-4ab1-8a2e-2044a82cd57d" providerId="AD" clId="Web-{3B179691-592F-4AE6-B931-419DCD862780}" dt="2024-06-03T13:04:00.532" v="24"/>
          <ac:spMkLst>
            <pc:docMk/>
            <pc:sldMk cId="1763538031" sldId="353"/>
            <ac:spMk id="9" creationId="{DE1F88EA-5B85-4782-9A95-9C738F48EC17}"/>
          </ac:spMkLst>
        </pc:spChg>
        <pc:spChg chg="add del">
          <ac:chgData name="Shanklin, Stephanie [OSHE]" userId="S::stephanie.shanklin@oshe.nj.gov::b636a577-f330-4ab1-8a2e-2044a82cd57d" providerId="AD" clId="Web-{3B179691-592F-4AE6-B931-419DCD862780}" dt="2024-06-03T13:04:00.532" v="24"/>
          <ac:spMkLst>
            <pc:docMk/>
            <pc:sldMk cId="1763538031" sldId="353"/>
            <ac:spMk id="11" creationId="{E9A9E663-1F8A-406B-B295-B1EF8596D1D5}"/>
          </ac:spMkLst>
        </pc:spChg>
        <pc:spChg chg="add del">
          <ac:chgData name="Shanklin, Stephanie [OSHE]" userId="S::stephanie.shanklin@oshe.nj.gov::b636a577-f330-4ab1-8a2e-2044a82cd57d" providerId="AD" clId="Web-{3B179691-592F-4AE6-B931-419DCD862780}" dt="2024-06-03T13:04:00.532" v="24"/>
          <ac:spMkLst>
            <pc:docMk/>
            <pc:sldMk cId="1763538031" sldId="353"/>
            <ac:spMk id="15" creationId="{35230A27-1553-42F8-99D7-829868E13715}"/>
          </ac:spMkLst>
        </pc:spChg>
        <pc:spChg chg="add del">
          <ac:chgData name="Shanklin, Stephanie [OSHE]" userId="S::stephanie.shanklin@oshe.nj.gov::b636a577-f330-4ab1-8a2e-2044a82cd57d" providerId="AD" clId="Web-{3B179691-592F-4AE6-B931-419DCD862780}" dt="2024-06-03T13:04:00.532" v="24"/>
          <ac:spMkLst>
            <pc:docMk/>
            <pc:sldMk cId="1763538031" sldId="353"/>
            <ac:spMk id="17" creationId="{A772232D-B4D6-429F-B3D1-2D9891B85E08}"/>
          </ac:spMkLst>
        </pc:spChg>
        <pc:spChg chg="add">
          <ac:chgData name="Shanklin, Stephanie [OSHE]" userId="S::stephanie.shanklin@oshe.nj.gov::b636a577-f330-4ab1-8a2e-2044a82cd57d" providerId="AD" clId="Web-{3B179691-592F-4AE6-B931-419DCD862780}" dt="2024-06-03T13:04:00.532" v="24"/>
          <ac:spMkLst>
            <pc:docMk/>
            <pc:sldMk cId="1763538031" sldId="353"/>
            <ac:spMk id="27" creationId="{E0747CA7-2579-4FF5-95CF-E3FA65C9E187}"/>
          </ac:spMkLst>
        </pc:spChg>
        <pc:spChg chg="add">
          <ac:chgData name="Shanklin, Stephanie [OSHE]" userId="S::stephanie.shanklin@oshe.nj.gov::b636a577-f330-4ab1-8a2e-2044a82cd57d" providerId="AD" clId="Web-{3B179691-592F-4AE6-B931-419DCD862780}" dt="2024-06-03T13:04:00.532" v="24"/>
          <ac:spMkLst>
            <pc:docMk/>
            <pc:sldMk cId="1763538031" sldId="353"/>
            <ac:spMk id="29" creationId="{1C63BD94-CA0C-4C27-BB07-89F71DEA2D9A}"/>
          </ac:spMkLst>
        </pc:spChg>
        <pc:spChg chg="add">
          <ac:chgData name="Shanklin, Stephanie [OSHE]" userId="S::stephanie.shanklin@oshe.nj.gov::b636a577-f330-4ab1-8a2e-2044a82cd57d" providerId="AD" clId="Web-{3B179691-592F-4AE6-B931-419DCD862780}" dt="2024-06-03T13:04:00.532" v="24"/>
          <ac:spMkLst>
            <pc:docMk/>
            <pc:sldMk cId="1763538031" sldId="353"/>
            <ac:spMk id="31" creationId="{EE1530B0-6F96-46C0-8B3E-3215CB756BE4}"/>
          </ac:spMkLst>
        </pc:spChg>
        <pc:spChg chg="add">
          <ac:chgData name="Shanklin, Stephanie [OSHE]" userId="S::stephanie.shanklin@oshe.nj.gov::b636a577-f330-4ab1-8a2e-2044a82cd57d" providerId="AD" clId="Web-{3B179691-592F-4AE6-B931-419DCD862780}" dt="2024-06-03T13:04:00.532" v="24"/>
          <ac:spMkLst>
            <pc:docMk/>
            <pc:sldMk cId="1763538031" sldId="353"/>
            <ac:spMk id="33" creationId="{754910CF-1B56-45D3-960A-E89F7B3B9131}"/>
          </ac:spMkLst>
        </pc:spChg>
        <pc:spChg chg="add">
          <ac:chgData name="Shanklin, Stephanie [OSHE]" userId="S::stephanie.shanklin@oshe.nj.gov::b636a577-f330-4ab1-8a2e-2044a82cd57d" providerId="AD" clId="Web-{3B179691-592F-4AE6-B931-419DCD862780}" dt="2024-06-03T13:04:00.532" v="24"/>
          <ac:spMkLst>
            <pc:docMk/>
            <pc:sldMk cId="1763538031" sldId="353"/>
            <ac:spMk id="35" creationId="{6669F804-A677-4B75-95F4-A5E4426FB774}"/>
          </ac:spMkLst>
        </pc:spChg>
        <pc:graphicFrameChg chg="add">
          <ac:chgData name="Shanklin, Stephanie [OSHE]" userId="S::stephanie.shanklin@oshe.nj.gov::b636a577-f330-4ab1-8a2e-2044a82cd57d" providerId="AD" clId="Web-{3B179691-592F-4AE6-B931-419DCD862780}" dt="2024-06-03T13:04:00.532" v="24"/>
          <ac:graphicFrameMkLst>
            <pc:docMk/>
            <pc:sldMk cId="1763538031" sldId="353"/>
            <ac:graphicFrameMk id="21" creationId="{516C0BA6-A0F8-6C52-89EE-A37EB3CF4338}"/>
          </ac:graphicFrameMkLst>
        </pc:graphicFrameChg>
        <pc:cxnChg chg="add del">
          <ac:chgData name="Shanklin, Stephanie [OSHE]" userId="S::stephanie.shanklin@oshe.nj.gov::b636a577-f330-4ab1-8a2e-2044a82cd57d" providerId="AD" clId="Web-{3B179691-592F-4AE6-B931-419DCD862780}" dt="2024-06-03T13:04:00.532" v="24"/>
          <ac:cxnSpMkLst>
            <pc:docMk/>
            <pc:sldMk cId="1763538031" sldId="353"/>
            <ac:cxnSpMk id="13" creationId="{EC97561C-9294-4114-A5D6-9CF6CF68AC74}"/>
          </ac:cxnSpMkLst>
        </pc:cxnChg>
        <pc:cxnChg chg="add del">
          <ac:chgData name="Shanklin, Stephanie [OSHE]" userId="S::stephanie.shanklin@oshe.nj.gov::b636a577-f330-4ab1-8a2e-2044a82cd57d" providerId="AD" clId="Web-{3B179691-592F-4AE6-B931-419DCD862780}" dt="2024-06-03T13:04:00.532" v="24"/>
          <ac:cxnSpMkLst>
            <pc:docMk/>
            <pc:sldMk cId="1763538031" sldId="353"/>
            <ac:cxnSpMk id="19" creationId="{02CC3441-26B3-4381-B3DF-8AE3C288BC0D}"/>
          </ac:cxnSpMkLst>
        </pc:cxnChg>
        <pc:cxnChg chg="add">
          <ac:chgData name="Shanklin, Stephanie [OSHE]" userId="S::stephanie.shanklin@oshe.nj.gov::b636a577-f330-4ab1-8a2e-2044a82cd57d" providerId="AD" clId="Web-{3B179691-592F-4AE6-B931-419DCD862780}" dt="2024-06-03T13:04:00.532" v="24"/>
          <ac:cxnSpMkLst>
            <pc:docMk/>
            <pc:sldMk cId="1763538031" sldId="353"/>
            <ac:cxnSpMk id="25" creationId="{C6DEF8F9-FFEF-4EDB-8A06-8A7884ED42E0}"/>
          </ac:cxnSpMkLst>
        </pc:cxnChg>
      </pc:sldChg>
      <pc:sldChg chg="addSp delSp modSp mod setBg">
        <pc:chgData name="Shanklin, Stephanie [OSHE]" userId="S::stephanie.shanklin@oshe.nj.gov::b636a577-f330-4ab1-8a2e-2044a82cd57d" providerId="AD" clId="Web-{3B179691-592F-4AE6-B931-419DCD862780}" dt="2024-06-03T13:07:53.296" v="46"/>
        <pc:sldMkLst>
          <pc:docMk/>
          <pc:sldMk cId="4131873519" sldId="354"/>
        </pc:sldMkLst>
        <pc:spChg chg="mod ord">
          <ac:chgData name="Shanklin, Stephanie [OSHE]" userId="S::stephanie.shanklin@oshe.nj.gov::b636a577-f330-4ab1-8a2e-2044a82cd57d" providerId="AD" clId="Web-{3B179691-592F-4AE6-B931-419DCD862780}" dt="2024-06-03T13:07:53.296" v="46"/>
          <ac:spMkLst>
            <pc:docMk/>
            <pc:sldMk cId="4131873519" sldId="354"/>
            <ac:spMk id="2" creationId="{00000000-0000-0000-0000-000000000000}"/>
          </ac:spMkLst>
        </pc:spChg>
        <pc:spChg chg="del mod">
          <ac:chgData name="Shanklin, Stephanie [OSHE]" userId="S::stephanie.shanklin@oshe.nj.gov::b636a577-f330-4ab1-8a2e-2044a82cd57d" providerId="AD" clId="Web-{3B179691-592F-4AE6-B931-419DCD862780}" dt="2024-06-03T13:07:53.296" v="46"/>
          <ac:spMkLst>
            <pc:docMk/>
            <pc:sldMk cId="4131873519" sldId="354"/>
            <ac:spMk id="3" creationId="{00000000-0000-0000-0000-000000000000}"/>
          </ac:spMkLst>
        </pc:spChg>
        <pc:spChg chg="mod">
          <ac:chgData name="Shanklin, Stephanie [OSHE]" userId="S::stephanie.shanklin@oshe.nj.gov::b636a577-f330-4ab1-8a2e-2044a82cd57d" providerId="AD" clId="Web-{3B179691-592F-4AE6-B931-419DCD862780}" dt="2024-06-03T13:07:53.296" v="46"/>
          <ac:spMkLst>
            <pc:docMk/>
            <pc:sldMk cId="4131873519" sldId="354"/>
            <ac:spMk id="4" creationId="{00000000-0000-0000-0000-000000000000}"/>
          </ac:spMkLst>
        </pc:spChg>
        <pc:spChg chg="add del">
          <ac:chgData name="Shanklin, Stephanie [OSHE]" userId="S::stephanie.shanklin@oshe.nj.gov::b636a577-f330-4ab1-8a2e-2044a82cd57d" providerId="AD" clId="Web-{3B179691-592F-4AE6-B931-419DCD862780}" dt="2024-06-03T13:06:24.812" v="34"/>
          <ac:spMkLst>
            <pc:docMk/>
            <pc:sldMk cId="4131873519" sldId="354"/>
            <ac:spMk id="9" creationId="{35230A27-1553-42F8-99D7-829868E13715}"/>
          </ac:spMkLst>
        </pc:spChg>
        <pc:spChg chg="add del">
          <ac:chgData name="Shanklin, Stephanie [OSHE]" userId="S::stephanie.shanklin@oshe.nj.gov::b636a577-f330-4ab1-8a2e-2044a82cd57d" providerId="AD" clId="Web-{3B179691-592F-4AE6-B931-419DCD862780}" dt="2024-06-03T13:06:24.812" v="34"/>
          <ac:spMkLst>
            <pc:docMk/>
            <pc:sldMk cId="4131873519" sldId="354"/>
            <ac:spMk id="11" creationId="{A772232D-B4D6-429F-B3D1-2D9891B85E08}"/>
          </ac:spMkLst>
        </pc:spChg>
        <pc:spChg chg="add del">
          <ac:chgData name="Shanklin, Stephanie [OSHE]" userId="S::stephanie.shanklin@oshe.nj.gov::b636a577-f330-4ab1-8a2e-2044a82cd57d" providerId="AD" clId="Web-{3B179691-592F-4AE6-B931-419DCD862780}" dt="2024-06-03T13:06:32.734" v="36"/>
          <ac:spMkLst>
            <pc:docMk/>
            <pc:sldMk cId="4131873519" sldId="354"/>
            <ac:spMk id="15" creationId="{CECF0FC6-D57B-48B6-9036-F4FFD91A4B34}"/>
          </ac:spMkLst>
        </pc:spChg>
        <pc:spChg chg="add del">
          <ac:chgData name="Shanklin, Stephanie [OSHE]" userId="S::stephanie.shanklin@oshe.nj.gov::b636a577-f330-4ab1-8a2e-2044a82cd57d" providerId="AD" clId="Web-{3B179691-592F-4AE6-B931-419DCD862780}" dt="2024-06-03T13:06:32.734" v="36"/>
          <ac:spMkLst>
            <pc:docMk/>
            <pc:sldMk cId="4131873519" sldId="354"/>
            <ac:spMk id="16" creationId="{717A211C-5863-4303-AC3D-AEBFDF6D6A4C}"/>
          </ac:spMkLst>
        </pc:spChg>
        <pc:spChg chg="add del">
          <ac:chgData name="Shanklin, Stephanie [OSHE]" userId="S::stephanie.shanklin@oshe.nj.gov::b636a577-f330-4ab1-8a2e-2044a82cd57d" providerId="AD" clId="Web-{3B179691-592F-4AE6-B931-419DCD862780}" dt="2024-06-03T13:06:32.734" v="36"/>
          <ac:spMkLst>
            <pc:docMk/>
            <pc:sldMk cId="4131873519" sldId="354"/>
            <ac:spMk id="17" creationId="{087519CD-2FFF-42E3-BB0C-FEAA828BA5DB}"/>
          </ac:spMkLst>
        </pc:spChg>
        <pc:spChg chg="add del">
          <ac:chgData name="Shanklin, Stephanie [OSHE]" userId="S::stephanie.shanklin@oshe.nj.gov::b636a577-f330-4ab1-8a2e-2044a82cd57d" providerId="AD" clId="Web-{3B179691-592F-4AE6-B931-419DCD862780}" dt="2024-06-03T13:07:53.296" v="46"/>
          <ac:spMkLst>
            <pc:docMk/>
            <pc:sldMk cId="4131873519" sldId="354"/>
            <ac:spMk id="19" creationId="{3558DB37-9FEE-48A2-8578-ED0401573943}"/>
          </ac:spMkLst>
        </pc:spChg>
        <pc:spChg chg="add del">
          <ac:chgData name="Shanklin, Stephanie [OSHE]" userId="S::stephanie.shanklin@oshe.nj.gov::b636a577-f330-4ab1-8a2e-2044a82cd57d" providerId="AD" clId="Web-{3B179691-592F-4AE6-B931-419DCD862780}" dt="2024-06-03T13:07:53.296" v="46"/>
          <ac:spMkLst>
            <pc:docMk/>
            <pc:sldMk cId="4131873519" sldId="354"/>
            <ac:spMk id="20" creationId="{5F7FCCA6-00E2-4F74-A105-0D769872F243}"/>
          </ac:spMkLst>
        </pc:spChg>
        <pc:spChg chg="add del">
          <ac:chgData name="Shanklin, Stephanie [OSHE]" userId="S::stephanie.shanklin@oshe.nj.gov::b636a577-f330-4ab1-8a2e-2044a82cd57d" providerId="AD" clId="Web-{3B179691-592F-4AE6-B931-419DCD862780}" dt="2024-06-03T13:07:53.296" v="46"/>
          <ac:spMkLst>
            <pc:docMk/>
            <pc:sldMk cId="4131873519" sldId="354"/>
            <ac:spMk id="21" creationId="{5E1ED12F-9F06-4B37-87B7-F98F52937F86}"/>
          </ac:spMkLst>
        </pc:spChg>
        <pc:spChg chg="add">
          <ac:chgData name="Shanklin, Stephanie [OSHE]" userId="S::stephanie.shanklin@oshe.nj.gov::b636a577-f330-4ab1-8a2e-2044a82cd57d" providerId="AD" clId="Web-{3B179691-592F-4AE6-B931-419DCD862780}" dt="2024-06-03T13:07:53.296" v="46"/>
          <ac:spMkLst>
            <pc:docMk/>
            <pc:sldMk cId="4131873519" sldId="354"/>
            <ac:spMk id="27" creationId="{EE1530B0-6F96-46C0-8B3E-3215CB756BE4}"/>
          </ac:spMkLst>
        </pc:spChg>
        <pc:spChg chg="add">
          <ac:chgData name="Shanklin, Stephanie [OSHE]" userId="S::stephanie.shanklin@oshe.nj.gov::b636a577-f330-4ab1-8a2e-2044a82cd57d" providerId="AD" clId="Web-{3B179691-592F-4AE6-B931-419DCD862780}" dt="2024-06-03T13:07:53.296" v="46"/>
          <ac:spMkLst>
            <pc:docMk/>
            <pc:sldMk cId="4131873519" sldId="354"/>
            <ac:spMk id="29" creationId="{754910CF-1B56-45D3-960A-E89F7B3B9131}"/>
          </ac:spMkLst>
        </pc:spChg>
        <pc:spChg chg="add">
          <ac:chgData name="Shanklin, Stephanie [OSHE]" userId="S::stephanie.shanklin@oshe.nj.gov::b636a577-f330-4ab1-8a2e-2044a82cd57d" providerId="AD" clId="Web-{3B179691-592F-4AE6-B931-419DCD862780}" dt="2024-06-03T13:07:53.296" v="46"/>
          <ac:spMkLst>
            <pc:docMk/>
            <pc:sldMk cId="4131873519" sldId="354"/>
            <ac:spMk id="31" creationId="{6669F804-A677-4B75-95F4-A5E4426FB774}"/>
          </ac:spMkLst>
        </pc:spChg>
        <pc:graphicFrameChg chg="add">
          <ac:chgData name="Shanklin, Stephanie [OSHE]" userId="S::stephanie.shanklin@oshe.nj.gov::b636a577-f330-4ab1-8a2e-2044a82cd57d" providerId="AD" clId="Web-{3B179691-592F-4AE6-B931-419DCD862780}" dt="2024-06-03T13:07:53.296" v="46"/>
          <ac:graphicFrameMkLst>
            <pc:docMk/>
            <pc:sldMk cId="4131873519" sldId="354"/>
            <ac:graphicFrameMk id="23" creationId="{A5EAF8FA-BFA7-24CE-DC03-173D26B42DAA}"/>
          </ac:graphicFrameMkLst>
        </pc:graphicFrameChg>
        <pc:cxnChg chg="add del">
          <ac:chgData name="Shanklin, Stephanie [OSHE]" userId="S::stephanie.shanklin@oshe.nj.gov::b636a577-f330-4ab1-8a2e-2044a82cd57d" providerId="AD" clId="Web-{3B179691-592F-4AE6-B931-419DCD862780}" dt="2024-06-03T13:06:24.812" v="34"/>
          <ac:cxnSpMkLst>
            <pc:docMk/>
            <pc:sldMk cId="4131873519" sldId="354"/>
            <ac:cxnSpMk id="13" creationId="{02CC3441-26B3-4381-B3DF-8AE3C288BC0D}"/>
          </ac:cxnSpMkLst>
        </pc:cxnChg>
      </pc:sldChg>
      <pc:sldChg chg="addSp delSp modSp mod setBg">
        <pc:chgData name="Shanklin, Stephanie [OSHE]" userId="S::stephanie.shanklin@oshe.nj.gov::b636a577-f330-4ab1-8a2e-2044a82cd57d" providerId="AD" clId="Web-{3B179691-592F-4AE6-B931-419DCD862780}" dt="2024-06-03T13:08:52.702" v="54"/>
        <pc:sldMkLst>
          <pc:docMk/>
          <pc:sldMk cId="3555075192" sldId="355"/>
        </pc:sldMkLst>
        <pc:spChg chg="mod">
          <ac:chgData name="Shanklin, Stephanie [OSHE]" userId="S::stephanie.shanklin@oshe.nj.gov::b636a577-f330-4ab1-8a2e-2044a82cd57d" providerId="AD" clId="Web-{3B179691-592F-4AE6-B931-419DCD862780}" dt="2024-06-03T13:08:52.702" v="54"/>
          <ac:spMkLst>
            <pc:docMk/>
            <pc:sldMk cId="3555075192" sldId="355"/>
            <ac:spMk id="2" creationId="{00000000-0000-0000-0000-000000000000}"/>
          </ac:spMkLst>
        </pc:spChg>
        <pc:spChg chg="del">
          <ac:chgData name="Shanklin, Stephanie [OSHE]" userId="S::stephanie.shanklin@oshe.nj.gov::b636a577-f330-4ab1-8a2e-2044a82cd57d" providerId="AD" clId="Web-{3B179691-592F-4AE6-B931-419DCD862780}" dt="2024-06-03T13:08:52.702" v="54"/>
          <ac:spMkLst>
            <pc:docMk/>
            <pc:sldMk cId="3555075192" sldId="355"/>
            <ac:spMk id="3" creationId="{00000000-0000-0000-0000-000000000000}"/>
          </ac:spMkLst>
        </pc:spChg>
        <pc:spChg chg="mod">
          <ac:chgData name="Shanklin, Stephanie [OSHE]" userId="S::stephanie.shanklin@oshe.nj.gov::b636a577-f330-4ab1-8a2e-2044a82cd57d" providerId="AD" clId="Web-{3B179691-592F-4AE6-B931-419DCD862780}" dt="2024-06-03T13:08:52.702" v="54"/>
          <ac:spMkLst>
            <pc:docMk/>
            <pc:sldMk cId="3555075192" sldId="355"/>
            <ac:spMk id="4" creationId="{00000000-0000-0000-0000-000000000000}"/>
          </ac:spMkLst>
        </pc:spChg>
        <pc:spChg chg="add">
          <ac:chgData name="Shanklin, Stephanie [OSHE]" userId="S::stephanie.shanklin@oshe.nj.gov::b636a577-f330-4ab1-8a2e-2044a82cd57d" providerId="AD" clId="Web-{3B179691-592F-4AE6-B931-419DCD862780}" dt="2024-06-03T13:08:52.702" v="54"/>
          <ac:spMkLst>
            <pc:docMk/>
            <pc:sldMk cId="3555075192" sldId="355"/>
            <ac:spMk id="10" creationId="{EE1530B0-6F96-46C0-8B3E-3215CB756BE4}"/>
          </ac:spMkLst>
        </pc:spChg>
        <pc:spChg chg="add">
          <ac:chgData name="Shanklin, Stephanie [OSHE]" userId="S::stephanie.shanklin@oshe.nj.gov::b636a577-f330-4ab1-8a2e-2044a82cd57d" providerId="AD" clId="Web-{3B179691-592F-4AE6-B931-419DCD862780}" dt="2024-06-03T13:08:52.702" v="54"/>
          <ac:spMkLst>
            <pc:docMk/>
            <pc:sldMk cId="3555075192" sldId="355"/>
            <ac:spMk id="12" creationId="{754910CF-1B56-45D3-960A-E89F7B3B9131}"/>
          </ac:spMkLst>
        </pc:spChg>
        <pc:spChg chg="add">
          <ac:chgData name="Shanklin, Stephanie [OSHE]" userId="S::stephanie.shanklin@oshe.nj.gov::b636a577-f330-4ab1-8a2e-2044a82cd57d" providerId="AD" clId="Web-{3B179691-592F-4AE6-B931-419DCD862780}" dt="2024-06-03T13:08:52.702" v="54"/>
          <ac:spMkLst>
            <pc:docMk/>
            <pc:sldMk cId="3555075192" sldId="355"/>
            <ac:spMk id="14" creationId="{6669F804-A677-4B75-95F4-A5E4426FB774}"/>
          </ac:spMkLst>
        </pc:spChg>
        <pc:graphicFrameChg chg="add">
          <ac:chgData name="Shanklin, Stephanie [OSHE]" userId="S::stephanie.shanklin@oshe.nj.gov::b636a577-f330-4ab1-8a2e-2044a82cd57d" providerId="AD" clId="Web-{3B179691-592F-4AE6-B931-419DCD862780}" dt="2024-06-03T13:08:52.702" v="54"/>
          <ac:graphicFrameMkLst>
            <pc:docMk/>
            <pc:sldMk cId="3555075192" sldId="355"/>
            <ac:graphicFrameMk id="6" creationId="{667E1853-20D7-D21A-29AD-203666858154}"/>
          </ac:graphicFrameMkLst>
        </pc:graphicFrameChg>
      </pc:sldChg>
      <pc:sldChg chg="addSp delSp modSp mod setBg">
        <pc:chgData name="Shanklin, Stephanie [OSHE]" userId="S::stephanie.shanklin@oshe.nj.gov::b636a577-f330-4ab1-8a2e-2044a82cd57d" providerId="AD" clId="Web-{3B179691-592F-4AE6-B931-419DCD862780}" dt="2024-06-03T13:05:01.953" v="31"/>
        <pc:sldMkLst>
          <pc:docMk/>
          <pc:sldMk cId="1384278934" sldId="357"/>
        </pc:sldMkLst>
        <pc:spChg chg="mod">
          <ac:chgData name="Shanklin, Stephanie [OSHE]" userId="S::stephanie.shanklin@oshe.nj.gov::b636a577-f330-4ab1-8a2e-2044a82cd57d" providerId="AD" clId="Web-{3B179691-592F-4AE6-B931-419DCD862780}" dt="2024-06-03T13:05:01.953" v="31"/>
          <ac:spMkLst>
            <pc:docMk/>
            <pc:sldMk cId="1384278934" sldId="357"/>
            <ac:spMk id="2" creationId="{00000000-0000-0000-0000-000000000000}"/>
          </ac:spMkLst>
        </pc:spChg>
        <pc:spChg chg="add del">
          <ac:chgData name="Shanklin, Stephanie [OSHE]" userId="S::stephanie.shanklin@oshe.nj.gov::b636a577-f330-4ab1-8a2e-2044a82cd57d" providerId="AD" clId="Web-{3B179691-592F-4AE6-B931-419DCD862780}" dt="2024-06-03T13:05:01.953" v="31"/>
          <ac:spMkLst>
            <pc:docMk/>
            <pc:sldMk cId="1384278934" sldId="357"/>
            <ac:spMk id="3" creationId="{00000000-0000-0000-0000-000000000000}"/>
          </ac:spMkLst>
        </pc:spChg>
        <pc:spChg chg="mod">
          <ac:chgData name="Shanklin, Stephanie [OSHE]" userId="S::stephanie.shanklin@oshe.nj.gov::b636a577-f330-4ab1-8a2e-2044a82cd57d" providerId="AD" clId="Web-{3B179691-592F-4AE6-B931-419DCD862780}" dt="2024-06-03T13:05:01.953" v="31"/>
          <ac:spMkLst>
            <pc:docMk/>
            <pc:sldMk cId="1384278934" sldId="357"/>
            <ac:spMk id="4" creationId="{00000000-0000-0000-0000-000000000000}"/>
          </ac:spMkLst>
        </pc:spChg>
        <pc:spChg chg="add del">
          <ac:chgData name="Shanklin, Stephanie [OSHE]" userId="S::stephanie.shanklin@oshe.nj.gov::b636a577-f330-4ab1-8a2e-2044a82cd57d" providerId="AD" clId="Web-{3B179691-592F-4AE6-B931-419DCD862780}" dt="2024-06-03T13:04:33.266" v="26"/>
          <ac:spMkLst>
            <pc:docMk/>
            <pc:sldMk cId="1384278934" sldId="357"/>
            <ac:spMk id="10" creationId="{103E59AE-44F8-4FB9-BF05-C888FE3E1DFA}"/>
          </ac:spMkLst>
        </pc:spChg>
        <pc:spChg chg="add del">
          <ac:chgData name="Shanklin, Stephanie [OSHE]" userId="S::stephanie.shanklin@oshe.nj.gov::b636a577-f330-4ab1-8a2e-2044a82cd57d" providerId="AD" clId="Web-{3B179691-592F-4AE6-B931-419DCD862780}" dt="2024-06-03T13:04:33.266" v="26"/>
          <ac:spMkLst>
            <pc:docMk/>
            <pc:sldMk cId="1384278934" sldId="357"/>
            <ac:spMk id="14" creationId="{3194563F-A66F-4B71-9C8D-5610CF13D6B0}"/>
          </ac:spMkLst>
        </pc:spChg>
        <pc:spChg chg="add del">
          <ac:chgData name="Shanklin, Stephanie [OSHE]" userId="S::stephanie.shanklin@oshe.nj.gov::b636a577-f330-4ab1-8a2e-2044a82cd57d" providerId="AD" clId="Web-{3B179691-592F-4AE6-B931-419DCD862780}" dt="2024-06-03T13:04:33.266" v="26"/>
          <ac:spMkLst>
            <pc:docMk/>
            <pc:sldMk cId="1384278934" sldId="357"/>
            <ac:spMk id="16" creationId="{4403595A-19F1-44C4-8C24-6E498B5F72BF}"/>
          </ac:spMkLst>
        </pc:spChg>
        <pc:spChg chg="add del">
          <ac:chgData name="Shanklin, Stephanie [OSHE]" userId="S::stephanie.shanklin@oshe.nj.gov::b636a577-f330-4ab1-8a2e-2044a82cd57d" providerId="AD" clId="Web-{3B179691-592F-4AE6-B931-419DCD862780}" dt="2024-06-03T13:04:38.953" v="28"/>
          <ac:spMkLst>
            <pc:docMk/>
            <pc:sldMk cId="1384278934" sldId="357"/>
            <ac:spMk id="18" creationId="{EE1530B0-6F96-46C0-8B3E-3215CB756BE4}"/>
          </ac:spMkLst>
        </pc:spChg>
        <pc:spChg chg="add del">
          <ac:chgData name="Shanklin, Stephanie [OSHE]" userId="S::stephanie.shanklin@oshe.nj.gov::b636a577-f330-4ab1-8a2e-2044a82cd57d" providerId="AD" clId="Web-{3B179691-592F-4AE6-B931-419DCD862780}" dt="2024-06-03T13:04:38.953" v="28"/>
          <ac:spMkLst>
            <pc:docMk/>
            <pc:sldMk cId="1384278934" sldId="357"/>
            <ac:spMk id="19" creationId="{754910CF-1B56-45D3-960A-E89F7B3B9131}"/>
          </ac:spMkLst>
        </pc:spChg>
        <pc:spChg chg="add del">
          <ac:chgData name="Shanklin, Stephanie [OSHE]" userId="S::stephanie.shanklin@oshe.nj.gov::b636a577-f330-4ab1-8a2e-2044a82cd57d" providerId="AD" clId="Web-{3B179691-592F-4AE6-B931-419DCD862780}" dt="2024-06-03T13:04:38.953" v="28"/>
          <ac:spMkLst>
            <pc:docMk/>
            <pc:sldMk cId="1384278934" sldId="357"/>
            <ac:spMk id="20" creationId="{6669F804-A677-4B75-95F4-A5E4426FB774}"/>
          </ac:spMkLst>
        </pc:spChg>
        <pc:spChg chg="add">
          <ac:chgData name="Shanklin, Stephanie [OSHE]" userId="S::stephanie.shanklin@oshe.nj.gov::b636a577-f330-4ab1-8a2e-2044a82cd57d" providerId="AD" clId="Web-{3B179691-592F-4AE6-B931-419DCD862780}" dt="2024-06-03T13:05:01.953" v="31"/>
          <ac:spMkLst>
            <pc:docMk/>
            <pc:sldMk cId="1384278934" sldId="357"/>
            <ac:spMk id="25" creationId="{103E59AE-44F8-4FB9-BF05-C888FE3E1DFA}"/>
          </ac:spMkLst>
        </pc:spChg>
        <pc:spChg chg="add">
          <ac:chgData name="Shanklin, Stephanie [OSHE]" userId="S::stephanie.shanklin@oshe.nj.gov::b636a577-f330-4ab1-8a2e-2044a82cd57d" providerId="AD" clId="Web-{3B179691-592F-4AE6-B931-419DCD862780}" dt="2024-06-03T13:05:01.953" v="31"/>
          <ac:spMkLst>
            <pc:docMk/>
            <pc:sldMk cId="1384278934" sldId="357"/>
            <ac:spMk id="27" creationId="{3194563F-A66F-4B71-9C8D-5610CF13D6B0}"/>
          </ac:spMkLst>
        </pc:spChg>
        <pc:spChg chg="add">
          <ac:chgData name="Shanklin, Stephanie [OSHE]" userId="S::stephanie.shanklin@oshe.nj.gov::b636a577-f330-4ab1-8a2e-2044a82cd57d" providerId="AD" clId="Web-{3B179691-592F-4AE6-B931-419DCD862780}" dt="2024-06-03T13:05:01.953" v="31"/>
          <ac:spMkLst>
            <pc:docMk/>
            <pc:sldMk cId="1384278934" sldId="357"/>
            <ac:spMk id="28" creationId="{4403595A-19F1-44C4-8C24-6E498B5F72BF}"/>
          </ac:spMkLst>
        </pc:spChg>
        <pc:graphicFrameChg chg="add del">
          <ac:chgData name="Shanklin, Stephanie [OSHE]" userId="S::stephanie.shanklin@oshe.nj.gov::b636a577-f330-4ab1-8a2e-2044a82cd57d" providerId="AD" clId="Web-{3B179691-592F-4AE6-B931-419DCD862780}" dt="2024-06-03T13:04:33.266" v="26"/>
          <ac:graphicFrameMkLst>
            <pc:docMk/>
            <pc:sldMk cId="1384278934" sldId="357"/>
            <ac:graphicFrameMk id="6" creationId="{74222CD5-B6A3-B0D8-DCC4-D6967D78BD82}"/>
          </ac:graphicFrameMkLst>
        </pc:graphicFrameChg>
        <pc:graphicFrameChg chg="add del">
          <ac:chgData name="Shanklin, Stephanie [OSHE]" userId="S::stephanie.shanklin@oshe.nj.gov::b636a577-f330-4ab1-8a2e-2044a82cd57d" providerId="AD" clId="Web-{3B179691-592F-4AE6-B931-419DCD862780}" dt="2024-06-03T13:04:38.953" v="28"/>
          <ac:graphicFrameMkLst>
            <pc:docMk/>
            <pc:sldMk cId="1384278934" sldId="357"/>
            <ac:graphicFrameMk id="21" creationId="{C1B55B64-FDCD-FE2E-BD2C-42F8AAA47C22}"/>
          </ac:graphicFrameMkLst>
        </pc:graphicFrameChg>
        <pc:graphicFrameChg chg="add del">
          <ac:chgData name="Shanklin, Stephanie [OSHE]" userId="S::stephanie.shanklin@oshe.nj.gov::b636a577-f330-4ab1-8a2e-2044a82cd57d" providerId="AD" clId="Web-{3B179691-592F-4AE6-B931-419DCD862780}" dt="2024-06-03T13:05:01.922" v="30"/>
          <ac:graphicFrameMkLst>
            <pc:docMk/>
            <pc:sldMk cId="1384278934" sldId="357"/>
            <ac:graphicFrameMk id="23" creationId="{88A3B891-866E-0320-B821-0F888B985EC5}"/>
          </ac:graphicFrameMkLst>
        </pc:graphicFrameChg>
        <pc:graphicFrameChg chg="add">
          <ac:chgData name="Shanklin, Stephanie [OSHE]" userId="S::stephanie.shanklin@oshe.nj.gov::b636a577-f330-4ab1-8a2e-2044a82cd57d" providerId="AD" clId="Web-{3B179691-592F-4AE6-B931-419DCD862780}" dt="2024-06-03T13:05:01.953" v="31"/>
          <ac:graphicFrameMkLst>
            <pc:docMk/>
            <pc:sldMk cId="1384278934" sldId="357"/>
            <ac:graphicFrameMk id="29" creationId="{74222CD5-B6A3-B0D8-DCC4-D6967D78BD82}"/>
          </ac:graphicFrameMkLst>
        </pc:graphicFrameChg>
        <pc:cxnChg chg="add del">
          <ac:chgData name="Shanklin, Stephanie [OSHE]" userId="S::stephanie.shanklin@oshe.nj.gov::b636a577-f330-4ab1-8a2e-2044a82cd57d" providerId="AD" clId="Web-{3B179691-592F-4AE6-B931-419DCD862780}" dt="2024-06-03T13:04:33.266" v="26"/>
          <ac:cxnSpMkLst>
            <pc:docMk/>
            <pc:sldMk cId="1384278934" sldId="357"/>
            <ac:cxnSpMk id="12" creationId="{2752F38C-F560-47AA-90AD-209F39C04150}"/>
          </ac:cxnSpMkLst>
        </pc:cxnChg>
        <pc:cxnChg chg="add">
          <ac:chgData name="Shanklin, Stephanie [OSHE]" userId="S::stephanie.shanklin@oshe.nj.gov::b636a577-f330-4ab1-8a2e-2044a82cd57d" providerId="AD" clId="Web-{3B179691-592F-4AE6-B931-419DCD862780}" dt="2024-06-03T13:05:01.953" v="31"/>
          <ac:cxnSpMkLst>
            <pc:docMk/>
            <pc:sldMk cId="1384278934" sldId="357"/>
            <ac:cxnSpMk id="26" creationId="{2752F38C-F560-47AA-90AD-209F39C04150}"/>
          </ac:cxnSpMkLst>
        </pc:cxnChg>
      </pc:sldChg>
      <pc:sldChg chg="addSp delSp modSp mod setBg">
        <pc:chgData name="Shanklin, Stephanie [OSHE]" userId="S::stephanie.shanklin@oshe.nj.gov::b636a577-f330-4ab1-8a2e-2044a82cd57d" providerId="AD" clId="Web-{3B179691-592F-4AE6-B931-419DCD862780}" dt="2024-06-03T13:05:41.344" v="32"/>
        <pc:sldMkLst>
          <pc:docMk/>
          <pc:sldMk cId="1776995459" sldId="358"/>
        </pc:sldMkLst>
        <pc:spChg chg="mod">
          <ac:chgData name="Shanklin, Stephanie [OSHE]" userId="S::stephanie.shanklin@oshe.nj.gov::b636a577-f330-4ab1-8a2e-2044a82cd57d" providerId="AD" clId="Web-{3B179691-592F-4AE6-B931-419DCD862780}" dt="2024-06-03T13:05:41.344" v="32"/>
          <ac:spMkLst>
            <pc:docMk/>
            <pc:sldMk cId="1776995459" sldId="358"/>
            <ac:spMk id="2" creationId="{A4EC8791-28AC-4AD9-6552-0C5828D2F93D}"/>
          </ac:spMkLst>
        </pc:spChg>
        <pc:spChg chg="del">
          <ac:chgData name="Shanklin, Stephanie [OSHE]" userId="S::stephanie.shanklin@oshe.nj.gov::b636a577-f330-4ab1-8a2e-2044a82cd57d" providerId="AD" clId="Web-{3B179691-592F-4AE6-B931-419DCD862780}" dt="2024-06-03T13:05:41.344" v="32"/>
          <ac:spMkLst>
            <pc:docMk/>
            <pc:sldMk cId="1776995459" sldId="358"/>
            <ac:spMk id="3" creationId="{A6E9AE1B-81BB-DC1B-AD37-1A1B99DAFD3C}"/>
          </ac:spMkLst>
        </pc:spChg>
        <pc:spChg chg="mod">
          <ac:chgData name="Shanklin, Stephanie [OSHE]" userId="S::stephanie.shanklin@oshe.nj.gov::b636a577-f330-4ab1-8a2e-2044a82cd57d" providerId="AD" clId="Web-{3B179691-592F-4AE6-B931-419DCD862780}" dt="2024-06-03T13:05:41.344" v="32"/>
          <ac:spMkLst>
            <pc:docMk/>
            <pc:sldMk cId="1776995459" sldId="358"/>
            <ac:spMk id="4" creationId="{FCC0452B-5016-A6FF-830A-C041212EF828}"/>
          </ac:spMkLst>
        </pc:spChg>
        <pc:graphicFrameChg chg="add">
          <ac:chgData name="Shanklin, Stephanie [OSHE]" userId="S::stephanie.shanklin@oshe.nj.gov::b636a577-f330-4ab1-8a2e-2044a82cd57d" providerId="AD" clId="Web-{3B179691-592F-4AE6-B931-419DCD862780}" dt="2024-06-03T13:05:41.344" v="32"/>
          <ac:graphicFrameMkLst>
            <pc:docMk/>
            <pc:sldMk cId="1776995459" sldId="358"/>
            <ac:graphicFrameMk id="6" creationId="{0183A03C-A154-BBF2-2AB1-58E29437F211}"/>
          </ac:graphicFrameMkLst>
        </pc:graphicFrameChg>
      </pc:sldChg>
      <pc:sldChg chg="addSp delSp modSp mod setBg">
        <pc:chgData name="Shanklin, Stephanie [OSHE]" userId="S::stephanie.shanklin@oshe.nj.gov::b636a577-f330-4ab1-8a2e-2044a82cd57d" providerId="AD" clId="Web-{3B179691-592F-4AE6-B931-419DCD862780}" dt="2024-06-03T13:08:38.968" v="53"/>
        <pc:sldMkLst>
          <pc:docMk/>
          <pc:sldMk cId="487618856" sldId="359"/>
        </pc:sldMkLst>
        <pc:spChg chg="mod">
          <ac:chgData name="Shanklin, Stephanie [OSHE]" userId="S::stephanie.shanklin@oshe.nj.gov::b636a577-f330-4ab1-8a2e-2044a82cd57d" providerId="AD" clId="Web-{3B179691-592F-4AE6-B931-419DCD862780}" dt="2024-06-03T13:08:38.968" v="53"/>
          <ac:spMkLst>
            <pc:docMk/>
            <pc:sldMk cId="487618856" sldId="359"/>
            <ac:spMk id="2" creationId="{5A34902F-928F-BAFD-64B9-CCCA87FD6BDA}"/>
          </ac:spMkLst>
        </pc:spChg>
        <pc:spChg chg="add del">
          <ac:chgData name="Shanklin, Stephanie [OSHE]" userId="S::stephanie.shanklin@oshe.nj.gov::b636a577-f330-4ab1-8a2e-2044a82cd57d" providerId="AD" clId="Web-{3B179691-592F-4AE6-B931-419DCD862780}" dt="2024-06-03T13:08:38.968" v="53"/>
          <ac:spMkLst>
            <pc:docMk/>
            <pc:sldMk cId="487618856" sldId="359"/>
            <ac:spMk id="3" creationId="{3946CD47-B32A-EC48-D58A-2F383A4AB6B9}"/>
          </ac:spMkLst>
        </pc:spChg>
        <pc:spChg chg="mod">
          <ac:chgData name="Shanklin, Stephanie [OSHE]" userId="S::stephanie.shanklin@oshe.nj.gov::b636a577-f330-4ab1-8a2e-2044a82cd57d" providerId="AD" clId="Web-{3B179691-592F-4AE6-B931-419DCD862780}" dt="2024-06-03T13:08:38.968" v="53"/>
          <ac:spMkLst>
            <pc:docMk/>
            <pc:sldMk cId="487618856" sldId="359"/>
            <ac:spMk id="4" creationId="{03B3D849-8394-F5C6-21B3-427B1EC2E71A}"/>
          </ac:spMkLst>
        </pc:spChg>
        <pc:spChg chg="add del">
          <ac:chgData name="Shanklin, Stephanie [OSHE]" userId="S::stephanie.shanklin@oshe.nj.gov::b636a577-f330-4ab1-8a2e-2044a82cd57d" providerId="AD" clId="Web-{3B179691-592F-4AE6-B931-419DCD862780}" dt="2024-06-03T13:08:25.218" v="50"/>
          <ac:spMkLst>
            <pc:docMk/>
            <pc:sldMk cId="487618856" sldId="359"/>
            <ac:spMk id="9" creationId="{CECF0FC6-D57B-48B6-9036-F4FFD91A4B34}"/>
          </ac:spMkLst>
        </pc:spChg>
        <pc:spChg chg="add del">
          <ac:chgData name="Shanklin, Stephanie [OSHE]" userId="S::stephanie.shanklin@oshe.nj.gov::b636a577-f330-4ab1-8a2e-2044a82cd57d" providerId="AD" clId="Web-{3B179691-592F-4AE6-B931-419DCD862780}" dt="2024-06-03T13:08:11.218" v="48"/>
          <ac:spMkLst>
            <pc:docMk/>
            <pc:sldMk cId="487618856" sldId="359"/>
            <ac:spMk id="10" creationId="{103E59AE-44F8-4FB9-BF05-C888FE3E1DFA}"/>
          </ac:spMkLst>
        </pc:spChg>
        <pc:spChg chg="add del">
          <ac:chgData name="Shanklin, Stephanie [OSHE]" userId="S::stephanie.shanklin@oshe.nj.gov::b636a577-f330-4ab1-8a2e-2044a82cd57d" providerId="AD" clId="Web-{3B179691-592F-4AE6-B931-419DCD862780}" dt="2024-06-03T13:08:25.218" v="50"/>
          <ac:spMkLst>
            <pc:docMk/>
            <pc:sldMk cId="487618856" sldId="359"/>
            <ac:spMk id="11" creationId="{717A211C-5863-4303-AC3D-AEBFDF6D6A4C}"/>
          </ac:spMkLst>
        </pc:spChg>
        <pc:spChg chg="add del">
          <ac:chgData name="Shanklin, Stephanie [OSHE]" userId="S::stephanie.shanklin@oshe.nj.gov::b636a577-f330-4ab1-8a2e-2044a82cd57d" providerId="AD" clId="Web-{3B179691-592F-4AE6-B931-419DCD862780}" dt="2024-06-03T13:08:25.218" v="50"/>
          <ac:spMkLst>
            <pc:docMk/>
            <pc:sldMk cId="487618856" sldId="359"/>
            <ac:spMk id="13" creationId="{087519CD-2FFF-42E3-BB0C-FEAA828BA5DB}"/>
          </ac:spMkLst>
        </pc:spChg>
        <pc:spChg chg="add del">
          <ac:chgData name="Shanklin, Stephanie [OSHE]" userId="S::stephanie.shanklin@oshe.nj.gov::b636a577-f330-4ab1-8a2e-2044a82cd57d" providerId="AD" clId="Web-{3B179691-592F-4AE6-B931-419DCD862780}" dt="2024-06-03T13:08:11.218" v="48"/>
          <ac:spMkLst>
            <pc:docMk/>
            <pc:sldMk cId="487618856" sldId="359"/>
            <ac:spMk id="14" creationId="{3194563F-A66F-4B71-9C8D-5610CF13D6B0}"/>
          </ac:spMkLst>
        </pc:spChg>
        <pc:spChg chg="add del">
          <ac:chgData name="Shanklin, Stephanie [OSHE]" userId="S::stephanie.shanklin@oshe.nj.gov::b636a577-f330-4ab1-8a2e-2044a82cd57d" providerId="AD" clId="Web-{3B179691-592F-4AE6-B931-419DCD862780}" dt="2024-06-03T13:08:11.218" v="48"/>
          <ac:spMkLst>
            <pc:docMk/>
            <pc:sldMk cId="487618856" sldId="359"/>
            <ac:spMk id="16" creationId="{4403595A-19F1-44C4-8C24-6E498B5F72BF}"/>
          </ac:spMkLst>
        </pc:spChg>
        <pc:spChg chg="add del">
          <ac:chgData name="Shanklin, Stephanie [OSHE]" userId="S::stephanie.shanklin@oshe.nj.gov::b636a577-f330-4ab1-8a2e-2044a82cd57d" providerId="AD" clId="Web-{3B179691-592F-4AE6-B931-419DCD862780}" dt="2024-06-03T13:08:25.218" v="50"/>
          <ac:spMkLst>
            <pc:docMk/>
            <pc:sldMk cId="487618856" sldId="359"/>
            <ac:spMk id="18" creationId="{3946CD47-B32A-EC48-D58A-2F383A4AB6B9}"/>
          </ac:spMkLst>
        </pc:spChg>
        <pc:spChg chg="add">
          <ac:chgData name="Shanklin, Stephanie [OSHE]" userId="S::stephanie.shanklin@oshe.nj.gov::b636a577-f330-4ab1-8a2e-2044a82cd57d" providerId="AD" clId="Web-{3B179691-592F-4AE6-B931-419DCD862780}" dt="2024-06-03T13:08:38.968" v="53"/>
          <ac:spMkLst>
            <pc:docMk/>
            <pc:sldMk cId="487618856" sldId="359"/>
            <ac:spMk id="22" creationId="{2B6C9846-B5AB-4E52-988D-F7E5865C9E4B}"/>
          </ac:spMkLst>
        </pc:spChg>
        <pc:spChg chg="add">
          <ac:chgData name="Shanklin, Stephanie [OSHE]" userId="S::stephanie.shanklin@oshe.nj.gov::b636a577-f330-4ab1-8a2e-2044a82cd57d" providerId="AD" clId="Web-{3B179691-592F-4AE6-B931-419DCD862780}" dt="2024-06-03T13:08:38.968" v="53"/>
          <ac:spMkLst>
            <pc:docMk/>
            <pc:sldMk cId="487618856" sldId="359"/>
            <ac:spMk id="23" creationId="{6F3D7E8E-8467-4198-87E0-ADC1B60467FC}"/>
          </ac:spMkLst>
        </pc:spChg>
        <pc:spChg chg="add">
          <ac:chgData name="Shanklin, Stephanie [OSHE]" userId="S::stephanie.shanklin@oshe.nj.gov::b636a577-f330-4ab1-8a2e-2044a82cd57d" providerId="AD" clId="Web-{3B179691-592F-4AE6-B931-419DCD862780}" dt="2024-06-03T13:08:38.968" v="53"/>
          <ac:spMkLst>
            <pc:docMk/>
            <pc:sldMk cId="487618856" sldId="359"/>
            <ac:spMk id="24" creationId="{399F85BF-36D0-4946-AAE8-69B89D44E605}"/>
          </ac:spMkLst>
        </pc:spChg>
        <pc:graphicFrameChg chg="add del">
          <ac:chgData name="Shanklin, Stephanie [OSHE]" userId="S::stephanie.shanklin@oshe.nj.gov::b636a577-f330-4ab1-8a2e-2044a82cd57d" providerId="AD" clId="Web-{3B179691-592F-4AE6-B931-419DCD862780}" dt="2024-06-03T13:08:11.218" v="48"/>
          <ac:graphicFrameMkLst>
            <pc:docMk/>
            <pc:sldMk cId="487618856" sldId="359"/>
            <ac:graphicFrameMk id="6" creationId="{16A1C1E4-ECDF-10E8-9351-94398E8FADE8}"/>
          </ac:graphicFrameMkLst>
        </pc:graphicFrameChg>
        <pc:graphicFrameChg chg="add del">
          <ac:chgData name="Shanklin, Stephanie [OSHE]" userId="S::stephanie.shanklin@oshe.nj.gov::b636a577-f330-4ab1-8a2e-2044a82cd57d" providerId="AD" clId="Web-{3B179691-592F-4AE6-B931-419DCD862780}" dt="2024-06-03T13:08:38.936" v="52"/>
          <ac:graphicFrameMkLst>
            <pc:docMk/>
            <pc:sldMk cId="487618856" sldId="359"/>
            <ac:graphicFrameMk id="20" creationId="{9C4E3613-88A7-FD72-9B98-FC8C669EF7E8}"/>
          </ac:graphicFrameMkLst>
        </pc:graphicFrameChg>
        <pc:graphicFrameChg chg="add">
          <ac:chgData name="Shanklin, Stephanie [OSHE]" userId="S::stephanie.shanklin@oshe.nj.gov::b636a577-f330-4ab1-8a2e-2044a82cd57d" providerId="AD" clId="Web-{3B179691-592F-4AE6-B931-419DCD862780}" dt="2024-06-03T13:08:38.968" v="53"/>
          <ac:graphicFrameMkLst>
            <pc:docMk/>
            <pc:sldMk cId="487618856" sldId="359"/>
            <ac:graphicFrameMk id="25" creationId="{BD3B59B1-C6D8-402D-F422-AB288E558101}"/>
          </ac:graphicFrameMkLst>
        </pc:graphicFrameChg>
        <pc:cxnChg chg="add del">
          <ac:chgData name="Shanklin, Stephanie [OSHE]" userId="S::stephanie.shanklin@oshe.nj.gov::b636a577-f330-4ab1-8a2e-2044a82cd57d" providerId="AD" clId="Web-{3B179691-592F-4AE6-B931-419DCD862780}" dt="2024-06-03T13:08:11.218" v="48"/>
          <ac:cxnSpMkLst>
            <pc:docMk/>
            <pc:sldMk cId="487618856" sldId="359"/>
            <ac:cxnSpMk id="12" creationId="{2752F38C-F560-47AA-90AD-209F39C04150}"/>
          </ac:cxnSpMkLst>
        </pc:cxnChg>
      </pc:sldChg>
      <pc:sldChg chg="new del">
        <pc:chgData name="Shanklin, Stephanie [OSHE]" userId="S::stephanie.shanklin@oshe.nj.gov::b636a577-f330-4ab1-8a2e-2044a82cd57d" providerId="AD" clId="Web-{3B179691-592F-4AE6-B931-419DCD862780}" dt="2024-06-03T13:19:18.792" v="194"/>
        <pc:sldMkLst>
          <pc:docMk/>
          <pc:sldMk cId="2191592723" sldId="360"/>
        </pc:sldMkLst>
      </pc:sldChg>
    </pc:docChg>
  </pc:docChgLst>
  <pc:docChgLst>
    <pc:chgData name="Collazo, Peter [OSHE]" userId="S::peter.collazo@oshe.nj.gov::7c1aad2a-cb45-4a1e-8b89-52846f7f99d7" providerId="AD" clId="Web-{A360B531-B75D-49AE-827B-2CA98B1C9A4D}"/>
    <pc:docChg chg="modSld sldOrd">
      <pc:chgData name="Collazo, Peter [OSHE]" userId="S::peter.collazo@oshe.nj.gov::7c1aad2a-cb45-4a1e-8b89-52846f7f99d7" providerId="AD" clId="Web-{A360B531-B75D-49AE-827B-2CA98B1C9A4D}" dt="2024-06-27T18:37:22.687" v="314" actId="20577"/>
      <pc:docMkLst>
        <pc:docMk/>
      </pc:docMkLst>
      <pc:sldChg chg="modSp">
        <pc:chgData name="Collazo, Peter [OSHE]" userId="S::peter.collazo@oshe.nj.gov::7c1aad2a-cb45-4a1e-8b89-52846f7f99d7" providerId="AD" clId="Web-{A360B531-B75D-49AE-827B-2CA98B1C9A4D}" dt="2024-06-27T18:17:00.449" v="2" actId="20577"/>
        <pc:sldMkLst>
          <pc:docMk/>
          <pc:sldMk cId="2521177469" sldId="352"/>
        </pc:sldMkLst>
        <pc:spChg chg="mod">
          <ac:chgData name="Collazo, Peter [OSHE]" userId="S::peter.collazo@oshe.nj.gov::7c1aad2a-cb45-4a1e-8b89-52846f7f99d7" providerId="AD" clId="Web-{A360B531-B75D-49AE-827B-2CA98B1C9A4D}" dt="2024-06-27T18:17:00.449" v="2" actId="20577"/>
          <ac:spMkLst>
            <pc:docMk/>
            <pc:sldMk cId="2521177469" sldId="352"/>
            <ac:spMk id="6" creationId="{00000000-0000-0000-0000-000000000000}"/>
          </ac:spMkLst>
        </pc:spChg>
      </pc:sldChg>
      <pc:sldChg chg="addSp delSp modSp">
        <pc:chgData name="Collazo, Peter [OSHE]" userId="S::peter.collazo@oshe.nj.gov::7c1aad2a-cb45-4a1e-8b89-52846f7f99d7" providerId="AD" clId="Web-{A360B531-B75D-49AE-827B-2CA98B1C9A4D}" dt="2024-06-27T18:28:24.154" v="191" actId="20577"/>
        <pc:sldMkLst>
          <pc:docMk/>
          <pc:sldMk cId="1763538031" sldId="353"/>
        </pc:sldMkLst>
        <pc:spChg chg="add mod">
          <ac:chgData name="Collazo, Peter [OSHE]" userId="S::peter.collazo@oshe.nj.gov::7c1aad2a-cb45-4a1e-8b89-52846f7f99d7" providerId="AD" clId="Web-{A360B531-B75D-49AE-827B-2CA98B1C9A4D}" dt="2024-06-27T18:24:28.528" v="137" actId="20577"/>
          <ac:spMkLst>
            <pc:docMk/>
            <pc:sldMk cId="1763538031" sldId="353"/>
            <ac:spMk id="39" creationId="{41D1B30B-C30E-9DE8-144A-D86B049E9D8D}"/>
          </ac:spMkLst>
        </pc:spChg>
        <pc:spChg chg="add mod">
          <ac:chgData name="Collazo, Peter [OSHE]" userId="S::peter.collazo@oshe.nj.gov::7c1aad2a-cb45-4a1e-8b89-52846f7f99d7" providerId="AD" clId="Web-{A360B531-B75D-49AE-827B-2CA98B1C9A4D}" dt="2024-06-27T18:25:10.247" v="142" actId="14100"/>
          <ac:spMkLst>
            <pc:docMk/>
            <pc:sldMk cId="1763538031" sldId="353"/>
            <ac:spMk id="40" creationId="{D6335993-DB59-0FB6-D1A1-8A5F653B904E}"/>
          </ac:spMkLst>
        </pc:spChg>
        <pc:spChg chg="add del mod">
          <ac:chgData name="Collazo, Peter [OSHE]" userId="S::peter.collazo@oshe.nj.gov::7c1aad2a-cb45-4a1e-8b89-52846f7f99d7" providerId="AD" clId="Web-{A360B531-B75D-49AE-827B-2CA98B1C9A4D}" dt="2024-06-27T18:19:50.153" v="24"/>
          <ac:spMkLst>
            <pc:docMk/>
            <pc:sldMk cId="1763538031" sldId="353"/>
            <ac:spMk id="41" creationId="{D907BA85-2016-2F47-B999-FDE7D94DDA91}"/>
          </ac:spMkLst>
        </pc:spChg>
        <pc:spChg chg="add mod">
          <ac:chgData name="Collazo, Peter [OSHE]" userId="S::peter.collazo@oshe.nj.gov::7c1aad2a-cb45-4a1e-8b89-52846f7f99d7" providerId="AD" clId="Web-{A360B531-B75D-49AE-827B-2CA98B1C9A4D}" dt="2024-06-27T18:28:24.154" v="191" actId="20577"/>
          <ac:spMkLst>
            <pc:docMk/>
            <pc:sldMk cId="1763538031" sldId="353"/>
            <ac:spMk id="42" creationId="{74B59A42-8F3F-80F0-4951-3926FFCCD5DF}"/>
          </ac:spMkLst>
        </pc:spChg>
        <pc:graphicFrameChg chg="del mod">
          <ac:chgData name="Collazo, Peter [OSHE]" userId="S::peter.collazo@oshe.nj.gov::7c1aad2a-cb45-4a1e-8b89-52846f7f99d7" providerId="AD" clId="Web-{A360B531-B75D-49AE-827B-2CA98B1C9A4D}" dt="2024-06-27T18:25:58.716" v="144"/>
          <ac:graphicFrameMkLst>
            <pc:docMk/>
            <pc:sldMk cId="1763538031" sldId="353"/>
            <ac:graphicFrameMk id="21" creationId="{516C0BA6-A0F8-6C52-89EE-A37EB3CF4338}"/>
          </ac:graphicFrameMkLst>
        </pc:graphicFrameChg>
      </pc:sldChg>
      <pc:sldChg chg="modSp">
        <pc:chgData name="Collazo, Peter [OSHE]" userId="S::peter.collazo@oshe.nj.gov::7c1aad2a-cb45-4a1e-8b89-52846f7f99d7" providerId="AD" clId="Web-{A360B531-B75D-49AE-827B-2CA98B1C9A4D}" dt="2024-06-27T18:31:43.264" v="249" actId="20577"/>
        <pc:sldMkLst>
          <pc:docMk/>
          <pc:sldMk cId="4131873519" sldId="354"/>
        </pc:sldMkLst>
        <pc:graphicFrameChg chg="modGraphic">
          <ac:chgData name="Collazo, Peter [OSHE]" userId="S::peter.collazo@oshe.nj.gov::7c1aad2a-cb45-4a1e-8b89-52846f7f99d7" providerId="AD" clId="Web-{A360B531-B75D-49AE-827B-2CA98B1C9A4D}" dt="2024-06-27T18:31:43.264" v="249" actId="20577"/>
          <ac:graphicFrameMkLst>
            <pc:docMk/>
            <pc:sldMk cId="4131873519" sldId="354"/>
            <ac:graphicFrameMk id="23" creationId="{A5EAF8FA-BFA7-24CE-DC03-173D26B42DAA}"/>
          </ac:graphicFrameMkLst>
        </pc:graphicFrameChg>
      </pc:sldChg>
      <pc:sldChg chg="addSp delSp modSp ord">
        <pc:chgData name="Collazo, Peter [OSHE]" userId="S::peter.collazo@oshe.nj.gov::7c1aad2a-cb45-4a1e-8b89-52846f7f99d7" providerId="AD" clId="Web-{A360B531-B75D-49AE-827B-2CA98B1C9A4D}" dt="2024-06-27T18:37:22.687" v="314" actId="20577"/>
        <pc:sldMkLst>
          <pc:docMk/>
          <pc:sldMk cId="356471407" sldId="360"/>
        </pc:sldMkLst>
        <pc:spChg chg="del">
          <ac:chgData name="Collazo, Peter [OSHE]" userId="S::peter.collazo@oshe.nj.gov::7c1aad2a-cb45-4a1e-8b89-52846f7f99d7" providerId="AD" clId="Web-{A360B531-B75D-49AE-827B-2CA98B1C9A4D}" dt="2024-06-27T18:30:29.170" v="193"/>
          <ac:spMkLst>
            <pc:docMk/>
            <pc:sldMk cId="356471407" sldId="360"/>
            <ac:spMk id="2" creationId="{AE370152-8E4B-8C59-6F1A-9C2986176F06}"/>
          </ac:spMkLst>
        </pc:spChg>
        <pc:spChg chg="del">
          <ac:chgData name="Collazo, Peter [OSHE]" userId="S::peter.collazo@oshe.nj.gov::7c1aad2a-cb45-4a1e-8b89-52846f7f99d7" providerId="AD" clId="Web-{A360B531-B75D-49AE-827B-2CA98B1C9A4D}" dt="2024-06-27T18:31:21.295" v="220"/>
          <ac:spMkLst>
            <pc:docMk/>
            <pc:sldMk cId="356471407" sldId="360"/>
            <ac:spMk id="3" creationId="{FB692F7D-103B-FA17-7E0B-DD8BC8F5F3A0}"/>
          </ac:spMkLst>
        </pc:spChg>
        <pc:spChg chg="add del mod">
          <ac:chgData name="Collazo, Peter [OSHE]" userId="S::peter.collazo@oshe.nj.gov::7c1aad2a-cb45-4a1e-8b89-52846f7f99d7" providerId="AD" clId="Web-{A360B531-B75D-49AE-827B-2CA98B1C9A4D}" dt="2024-06-27T18:30:31.201" v="197"/>
          <ac:spMkLst>
            <pc:docMk/>
            <pc:sldMk cId="356471407" sldId="360"/>
            <ac:spMk id="5" creationId="{B6A7D9B6-D8F7-698C-6019-0C666B42746D}"/>
          </ac:spMkLst>
        </pc:spChg>
        <pc:spChg chg="add mod">
          <ac:chgData name="Collazo, Peter [OSHE]" userId="S::peter.collazo@oshe.nj.gov::7c1aad2a-cb45-4a1e-8b89-52846f7f99d7" providerId="AD" clId="Web-{A360B531-B75D-49AE-827B-2CA98B1C9A4D}" dt="2024-06-27T18:31:19.014" v="219" actId="14100"/>
          <ac:spMkLst>
            <pc:docMk/>
            <pc:sldMk cId="356471407" sldId="360"/>
            <ac:spMk id="7" creationId="{030A8F99-F8A8-8851-D5E6-92F4D68D6447}"/>
          </ac:spMkLst>
        </pc:spChg>
        <pc:spChg chg="add mod">
          <ac:chgData name="Collazo, Peter [OSHE]" userId="S::peter.collazo@oshe.nj.gov::7c1aad2a-cb45-4a1e-8b89-52846f7f99d7" providerId="AD" clId="Web-{A360B531-B75D-49AE-827B-2CA98B1C9A4D}" dt="2024-06-27T18:36:54.125" v="310" actId="20577"/>
          <ac:spMkLst>
            <pc:docMk/>
            <pc:sldMk cId="356471407" sldId="360"/>
            <ac:spMk id="8" creationId="{A5AB97D0-39F8-69FF-0F01-88F1E1699776}"/>
          </ac:spMkLst>
        </pc:spChg>
        <pc:spChg chg="add del mod">
          <ac:chgData name="Collazo, Peter [OSHE]" userId="S::peter.collazo@oshe.nj.gov::7c1aad2a-cb45-4a1e-8b89-52846f7f99d7" providerId="AD" clId="Web-{A360B531-B75D-49AE-827B-2CA98B1C9A4D}" dt="2024-06-27T18:35:39.640" v="302"/>
          <ac:spMkLst>
            <pc:docMk/>
            <pc:sldMk cId="356471407" sldId="360"/>
            <ac:spMk id="9" creationId="{3492C4DB-9C0D-2961-B656-01791CA49DFC}"/>
          </ac:spMkLst>
        </pc:spChg>
        <pc:spChg chg="add del mod">
          <ac:chgData name="Collazo, Peter [OSHE]" userId="S::peter.collazo@oshe.nj.gov::7c1aad2a-cb45-4a1e-8b89-52846f7f99d7" providerId="AD" clId="Web-{A360B531-B75D-49AE-827B-2CA98B1C9A4D}" dt="2024-06-27T18:32:17.483" v="262"/>
          <ac:spMkLst>
            <pc:docMk/>
            <pc:sldMk cId="356471407" sldId="360"/>
            <ac:spMk id="10" creationId="{83F951A7-89AD-5A72-D6AB-55B813EC4F4D}"/>
          </ac:spMkLst>
        </pc:spChg>
        <pc:spChg chg="add del mod">
          <ac:chgData name="Collazo, Peter [OSHE]" userId="S::peter.collazo@oshe.nj.gov::7c1aad2a-cb45-4a1e-8b89-52846f7f99d7" providerId="AD" clId="Web-{A360B531-B75D-49AE-827B-2CA98B1C9A4D}" dt="2024-06-27T18:32:15.686" v="261"/>
          <ac:spMkLst>
            <pc:docMk/>
            <pc:sldMk cId="356471407" sldId="360"/>
            <ac:spMk id="11" creationId="{BED7853A-EDE2-F141-01A9-63E910C98809}"/>
          </ac:spMkLst>
        </pc:spChg>
        <pc:spChg chg="add del mod">
          <ac:chgData name="Collazo, Peter [OSHE]" userId="S::peter.collazo@oshe.nj.gov::7c1aad2a-cb45-4a1e-8b89-52846f7f99d7" providerId="AD" clId="Web-{A360B531-B75D-49AE-827B-2CA98B1C9A4D}" dt="2024-06-27T18:32:35.639" v="267"/>
          <ac:spMkLst>
            <pc:docMk/>
            <pc:sldMk cId="356471407" sldId="360"/>
            <ac:spMk id="12" creationId="{56F8989E-821C-953D-1A7C-3CD9B58D9948}"/>
          </ac:spMkLst>
        </pc:spChg>
        <pc:spChg chg="add mod">
          <ac:chgData name="Collazo, Peter [OSHE]" userId="S::peter.collazo@oshe.nj.gov::7c1aad2a-cb45-4a1e-8b89-52846f7f99d7" providerId="AD" clId="Web-{A360B531-B75D-49AE-827B-2CA98B1C9A4D}" dt="2024-06-27T18:37:13.046" v="312" actId="20577"/>
          <ac:spMkLst>
            <pc:docMk/>
            <pc:sldMk cId="356471407" sldId="360"/>
            <ac:spMk id="13" creationId="{827808EA-4E2E-3A66-A7C6-59295C2DE2E3}"/>
          </ac:spMkLst>
        </pc:spChg>
        <pc:spChg chg="add mod">
          <ac:chgData name="Collazo, Peter [OSHE]" userId="S::peter.collazo@oshe.nj.gov::7c1aad2a-cb45-4a1e-8b89-52846f7f99d7" providerId="AD" clId="Web-{A360B531-B75D-49AE-827B-2CA98B1C9A4D}" dt="2024-06-27T18:37:22.687" v="314" actId="20577"/>
          <ac:spMkLst>
            <pc:docMk/>
            <pc:sldMk cId="356471407" sldId="360"/>
            <ac:spMk id="14" creationId="{AB660217-AFD4-57C0-23FD-9B3B0EA3768E}"/>
          </ac:spMkLst>
        </pc:spChg>
      </pc:sldChg>
    </pc:docChg>
  </pc:docChgLst>
  <pc:docChgLst>
    <pc:chgData name="Collazo, Peter [OSHE]" userId="S::peter.collazo@oshe.nj.gov::7c1aad2a-cb45-4a1e-8b89-52846f7f99d7" providerId="AD" clId="Web-{AC04A75B-3120-43E2-9EDA-0F5E2B6E734D}"/>
    <pc:docChg chg="modSld">
      <pc:chgData name="Collazo, Peter [OSHE]" userId="S::peter.collazo@oshe.nj.gov::7c1aad2a-cb45-4a1e-8b89-52846f7f99d7" providerId="AD" clId="Web-{AC04A75B-3120-43E2-9EDA-0F5E2B6E734D}" dt="2024-07-02T20:08:12.323" v="73" actId="1076"/>
      <pc:docMkLst>
        <pc:docMk/>
      </pc:docMkLst>
      <pc:sldChg chg="addSp delSp modSp">
        <pc:chgData name="Collazo, Peter [OSHE]" userId="S::peter.collazo@oshe.nj.gov::7c1aad2a-cb45-4a1e-8b89-52846f7f99d7" providerId="AD" clId="Web-{AC04A75B-3120-43E2-9EDA-0F5E2B6E734D}" dt="2024-07-02T20:08:12.323" v="73" actId="1076"/>
        <pc:sldMkLst>
          <pc:docMk/>
          <pc:sldMk cId="1763538031" sldId="353"/>
        </pc:sldMkLst>
        <pc:spChg chg="add del">
          <ac:chgData name="Collazo, Peter [OSHE]" userId="S::peter.collazo@oshe.nj.gov::7c1aad2a-cb45-4a1e-8b89-52846f7f99d7" providerId="AD" clId="Web-{AC04A75B-3120-43E2-9EDA-0F5E2B6E734D}" dt="2024-07-02T20:04:13.481" v="2"/>
          <ac:spMkLst>
            <pc:docMk/>
            <pc:sldMk cId="1763538031" sldId="353"/>
            <ac:spMk id="3" creationId="{7659A1EB-9CB4-82AF-7F25-5596090211B7}"/>
          </ac:spMkLst>
        </pc:spChg>
        <pc:spChg chg="add del mod">
          <ac:chgData name="Collazo, Peter [OSHE]" userId="S::peter.collazo@oshe.nj.gov::7c1aad2a-cb45-4a1e-8b89-52846f7f99d7" providerId="AD" clId="Web-{AC04A75B-3120-43E2-9EDA-0F5E2B6E734D}" dt="2024-07-02T20:07:18.667" v="59"/>
          <ac:spMkLst>
            <pc:docMk/>
            <pc:sldMk cId="1763538031" sldId="353"/>
            <ac:spMk id="5" creationId="{90428C0C-E2EC-34C5-5E4C-7DEA63457F91}"/>
          </ac:spMkLst>
        </pc:spChg>
        <pc:spChg chg="add del mod topLvl">
          <ac:chgData name="Collazo, Peter [OSHE]" userId="S::peter.collazo@oshe.nj.gov::7c1aad2a-cb45-4a1e-8b89-52846f7f99d7" providerId="AD" clId="Web-{AC04A75B-3120-43E2-9EDA-0F5E2B6E734D}" dt="2024-07-02T20:06:55.511" v="55"/>
          <ac:spMkLst>
            <pc:docMk/>
            <pc:sldMk cId="1763538031" sldId="353"/>
            <ac:spMk id="6" creationId="{60BA164B-5FF1-4A2D-A410-8E8B9A061A49}"/>
          </ac:spMkLst>
        </pc:spChg>
        <pc:spChg chg="add del mod ord topLvl">
          <ac:chgData name="Collazo, Peter [OSHE]" userId="S::peter.collazo@oshe.nj.gov::7c1aad2a-cb45-4a1e-8b89-52846f7f99d7" providerId="AD" clId="Web-{AC04A75B-3120-43E2-9EDA-0F5E2B6E734D}" dt="2024-07-02T20:06:50.917" v="53"/>
          <ac:spMkLst>
            <pc:docMk/>
            <pc:sldMk cId="1763538031" sldId="353"/>
            <ac:spMk id="7" creationId="{CD33197B-4E6E-1D0D-24DF-01574D02A71F}"/>
          </ac:spMkLst>
        </pc:spChg>
        <pc:spChg chg="mod topLvl">
          <ac:chgData name="Collazo, Peter [OSHE]" userId="S::peter.collazo@oshe.nj.gov::7c1aad2a-cb45-4a1e-8b89-52846f7f99d7" providerId="AD" clId="Web-{AC04A75B-3120-43E2-9EDA-0F5E2B6E734D}" dt="2024-07-02T20:08:12.323" v="73" actId="1076"/>
          <ac:spMkLst>
            <pc:docMk/>
            <pc:sldMk cId="1763538031" sldId="353"/>
            <ac:spMk id="40" creationId="{D6335993-DB59-0FB6-D1A1-8A5F653B904E}"/>
          </ac:spMkLst>
        </pc:spChg>
        <pc:grpChg chg="add del mod">
          <ac:chgData name="Collazo, Peter [OSHE]" userId="S::peter.collazo@oshe.nj.gov::7c1aad2a-cb45-4a1e-8b89-52846f7f99d7" providerId="AD" clId="Web-{AC04A75B-3120-43E2-9EDA-0F5E2B6E734D}" dt="2024-07-02T20:06:32.089" v="45"/>
          <ac:grpSpMkLst>
            <pc:docMk/>
            <pc:sldMk cId="1763538031" sldId="353"/>
            <ac:grpSpMk id="8" creationId="{232002D8-4CE6-6966-86E0-C488F9D9BCE0}"/>
          </ac:grpSpMkLst>
        </pc:grpChg>
      </pc:sldChg>
    </pc:docChg>
  </pc:docChgLst>
  <pc:docChgLst>
    <pc:chgData name="Shanklin, Stephanie [OSHE]" userId="S::stephanie.shanklin@oshe.nj.gov::b636a577-f330-4ab1-8a2e-2044a82cd57d" providerId="AD" clId="Web-{4B3CBBC2-C320-406A-9A32-C332558F4A91}"/>
    <pc:docChg chg="addSld delSld modSld">
      <pc:chgData name="Shanklin, Stephanie [OSHE]" userId="S::stephanie.shanklin@oshe.nj.gov::b636a577-f330-4ab1-8a2e-2044a82cd57d" providerId="AD" clId="Web-{4B3CBBC2-C320-406A-9A32-C332558F4A91}" dt="2024-06-27T21:10:46.802" v="193" actId="20577"/>
      <pc:docMkLst>
        <pc:docMk/>
      </pc:docMkLst>
      <pc:sldChg chg="modSp del">
        <pc:chgData name="Shanklin, Stephanie [OSHE]" userId="S::stephanie.shanklin@oshe.nj.gov::b636a577-f330-4ab1-8a2e-2044a82cd57d" providerId="AD" clId="Web-{4B3CBBC2-C320-406A-9A32-C332558F4A91}" dt="2024-06-27T20:56:09.334" v="103"/>
        <pc:sldMkLst>
          <pc:docMk/>
          <pc:sldMk cId="2521177469" sldId="352"/>
        </pc:sldMkLst>
        <pc:spChg chg="mod">
          <ac:chgData name="Shanklin, Stephanie [OSHE]" userId="S::stephanie.shanklin@oshe.nj.gov::b636a577-f330-4ab1-8a2e-2044a82cd57d" providerId="AD" clId="Web-{4B3CBBC2-C320-406A-9A32-C332558F4A91}" dt="2024-06-27T20:53:03.585" v="81" actId="20577"/>
          <ac:spMkLst>
            <pc:docMk/>
            <pc:sldMk cId="2521177469" sldId="352"/>
            <ac:spMk id="2" creationId="{00000000-0000-0000-0000-000000000000}"/>
          </ac:spMkLst>
        </pc:spChg>
        <pc:spChg chg="mod">
          <ac:chgData name="Shanklin, Stephanie [OSHE]" userId="S::stephanie.shanklin@oshe.nj.gov::b636a577-f330-4ab1-8a2e-2044a82cd57d" providerId="AD" clId="Web-{4B3CBBC2-C320-406A-9A32-C332558F4A91}" dt="2024-06-27T20:55:49.960" v="100" actId="20577"/>
          <ac:spMkLst>
            <pc:docMk/>
            <pc:sldMk cId="2521177469" sldId="352"/>
            <ac:spMk id="6" creationId="{00000000-0000-0000-0000-000000000000}"/>
          </ac:spMkLst>
        </pc:spChg>
      </pc:sldChg>
      <pc:sldChg chg="modSp">
        <pc:chgData name="Shanklin, Stephanie [OSHE]" userId="S::stephanie.shanklin@oshe.nj.gov::b636a577-f330-4ab1-8a2e-2044a82cd57d" providerId="AD" clId="Web-{4B3CBBC2-C320-406A-9A32-C332558F4A91}" dt="2024-06-27T20:34:04.118" v="16" actId="20577"/>
        <pc:sldMkLst>
          <pc:docMk/>
          <pc:sldMk cId="1523652521" sldId="356"/>
        </pc:sldMkLst>
        <pc:spChg chg="mod">
          <ac:chgData name="Shanklin, Stephanie [OSHE]" userId="S::stephanie.shanklin@oshe.nj.gov::b636a577-f330-4ab1-8a2e-2044a82cd57d" providerId="AD" clId="Web-{4B3CBBC2-C320-406A-9A32-C332558F4A91}" dt="2024-06-27T20:34:04.118" v="16" actId="20577"/>
          <ac:spMkLst>
            <pc:docMk/>
            <pc:sldMk cId="1523652521" sldId="356"/>
            <ac:spMk id="2" creationId="{00000000-0000-0000-0000-000000000000}"/>
          </ac:spMkLst>
        </pc:spChg>
      </pc:sldChg>
      <pc:sldChg chg="addSp modSp">
        <pc:chgData name="Shanklin, Stephanie [OSHE]" userId="S::stephanie.shanklin@oshe.nj.gov::b636a577-f330-4ab1-8a2e-2044a82cd57d" providerId="AD" clId="Web-{4B3CBBC2-C320-406A-9A32-C332558F4A91}" dt="2024-06-27T21:10:46.802" v="193" actId="20577"/>
        <pc:sldMkLst>
          <pc:docMk/>
          <pc:sldMk cId="1776995459" sldId="358"/>
        </pc:sldMkLst>
        <pc:spChg chg="add mod">
          <ac:chgData name="Shanklin, Stephanie [OSHE]" userId="S::stephanie.shanklin@oshe.nj.gov::b636a577-f330-4ab1-8a2e-2044a82cd57d" providerId="AD" clId="Web-{4B3CBBC2-C320-406A-9A32-C332558F4A91}" dt="2024-06-27T21:10:46.802" v="193" actId="20577"/>
          <ac:spMkLst>
            <pc:docMk/>
            <pc:sldMk cId="1776995459" sldId="358"/>
            <ac:spMk id="95" creationId="{A4683636-E983-C5A1-9800-4C75CEF1B0A2}"/>
          </ac:spMkLst>
        </pc:spChg>
      </pc:sldChg>
      <pc:sldChg chg="addSp delSp modSp add mod replId setClrOvrMap">
        <pc:chgData name="Shanklin, Stephanie [OSHE]" userId="S::stephanie.shanklin@oshe.nj.gov::b636a577-f330-4ab1-8a2e-2044a82cd57d" providerId="AD" clId="Web-{4B3CBBC2-C320-406A-9A32-C332558F4A91}" dt="2024-06-27T21:02:17.553" v="138" actId="20577"/>
        <pc:sldMkLst>
          <pc:docMk/>
          <pc:sldMk cId="3687148416" sldId="361"/>
        </pc:sldMkLst>
        <pc:spChg chg="mod">
          <ac:chgData name="Shanklin, Stephanie [OSHE]" userId="S::stephanie.shanklin@oshe.nj.gov::b636a577-f330-4ab1-8a2e-2044a82cd57d" providerId="AD" clId="Web-{4B3CBBC2-C320-406A-9A32-C332558F4A91}" dt="2024-06-27T21:01:18.631" v="136"/>
          <ac:spMkLst>
            <pc:docMk/>
            <pc:sldMk cId="3687148416" sldId="361"/>
            <ac:spMk id="2" creationId="{00000000-0000-0000-0000-000000000000}"/>
          </ac:spMkLst>
        </pc:spChg>
        <pc:spChg chg="add del">
          <ac:chgData name="Shanklin, Stephanie [OSHE]" userId="S::stephanie.shanklin@oshe.nj.gov::b636a577-f330-4ab1-8a2e-2044a82cd57d" providerId="AD" clId="Web-{4B3CBBC2-C320-406A-9A32-C332558F4A91}" dt="2024-06-27T21:00:17.694" v="131"/>
          <ac:spMkLst>
            <pc:docMk/>
            <pc:sldMk cId="3687148416" sldId="361"/>
            <ac:spMk id="7" creationId="{EE1530B0-6F96-46C0-8B3E-3215CB756BE4}"/>
          </ac:spMkLst>
        </pc:spChg>
        <pc:spChg chg="add del">
          <ac:chgData name="Shanklin, Stephanie [OSHE]" userId="S::stephanie.shanklin@oshe.nj.gov::b636a577-f330-4ab1-8a2e-2044a82cd57d" providerId="AD" clId="Web-{4B3CBBC2-C320-406A-9A32-C332558F4A91}" dt="2024-06-27T21:00:17.694" v="131"/>
          <ac:spMkLst>
            <pc:docMk/>
            <pc:sldMk cId="3687148416" sldId="361"/>
            <ac:spMk id="8" creationId="{754910CF-1B56-45D3-960A-E89F7B3B9131}"/>
          </ac:spMkLst>
        </pc:spChg>
        <pc:spChg chg="add del">
          <ac:chgData name="Shanklin, Stephanie [OSHE]" userId="S::stephanie.shanklin@oshe.nj.gov::b636a577-f330-4ab1-8a2e-2044a82cd57d" providerId="AD" clId="Web-{4B3CBBC2-C320-406A-9A32-C332558F4A91}" dt="2024-06-27T21:01:11.428" v="135"/>
          <ac:spMkLst>
            <pc:docMk/>
            <pc:sldMk cId="3687148416" sldId="361"/>
            <ac:spMk id="9" creationId="{EE1530B0-6F96-46C0-8B3E-3215CB756BE4}"/>
          </ac:spMkLst>
        </pc:spChg>
        <pc:spChg chg="add del">
          <ac:chgData name="Shanklin, Stephanie [OSHE]" userId="S::stephanie.shanklin@oshe.nj.gov::b636a577-f330-4ab1-8a2e-2044a82cd57d" providerId="AD" clId="Web-{4B3CBBC2-C320-406A-9A32-C332558F4A91}" dt="2024-06-27T20:59:57.147" v="127"/>
          <ac:spMkLst>
            <pc:docMk/>
            <pc:sldMk cId="3687148416" sldId="361"/>
            <ac:spMk id="10" creationId="{EE1530B0-6F96-46C0-8B3E-3215CB756BE4}"/>
          </ac:spMkLst>
        </pc:spChg>
        <pc:spChg chg="add del">
          <ac:chgData name="Shanklin, Stephanie [OSHE]" userId="S::stephanie.shanklin@oshe.nj.gov::b636a577-f330-4ab1-8a2e-2044a82cd57d" providerId="AD" clId="Web-{4B3CBBC2-C320-406A-9A32-C332558F4A91}" dt="2024-06-27T21:01:11.428" v="135"/>
          <ac:spMkLst>
            <pc:docMk/>
            <pc:sldMk cId="3687148416" sldId="361"/>
            <ac:spMk id="11" creationId="{754910CF-1B56-45D3-960A-E89F7B3B9131}"/>
          </ac:spMkLst>
        </pc:spChg>
        <pc:spChg chg="add del">
          <ac:chgData name="Shanklin, Stephanie [OSHE]" userId="S::stephanie.shanklin@oshe.nj.gov::b636a577-f330-4ab1-8a2e-2044a82cd57d" providerId="AD" clId="Web-{4B3CBBC2-C320-406A-9A32-C332558F4A91}" dt="2024-06-27T20:59:57.147" v="127"/>
          <ac:spMkLst>
            <pc:docMk/>
            <pc:sldMk cId="3687148416" sldId="361"/>
            <ac:spMk id="12" creationId="{754910CF-1B56-45D3-960A-E89F7B3B9131}"/>
          </ac:spMkLst>
        </pc:spChg>
        <pc:spChg chg="add del">
          <ac:chgData name="Shanklin, Stephanie [OSHE]" userId="S::stephanie.shanklin@oshe.nj.gov::b636a577-f330-4ab1-8a2e-2044a82cd57d" providerId="AD" clId="Web-{4B3CBBC2-C320-406A-9A32-C332558F4A91}" dt="2024-06-27T21:01:11.428" v="135"/>
          <ac:spMkLst>
            <pc:docMk/>
            <pc:sldMk cId="3687148416" sldId="361"/>
            <ac:spMk id="13" creationId="{6669F804-A677-4B75-95F4-A5E4426FB774}"/>
          </ac:spMkLst>
        </pc:spChg>
        <pc:spChg chg="add del">
          <ac:chgData name="Shanklin, Stephanie [OSHE]" userId="S::stephanie.shanklin@oshe.nj.gov::b636a577-f330-4ab1-8a2e-2044a82cd57d" providerId="AD" clId="Web-{4B3CBBC2-C320-406A-9A32-C332558F4A91}" dt="2024-06-27T20:59:57.147" v="127"/>
          <ac:spMkLst>
            <pc:docMk/>
            <pc:sldMk cId="3687148416" sldId="361"/>
            <ac:spMk id="14" creationId="{6669F804-A677-4B75-95F4-A5E4426FB774}"/>
          </ac:spMkLst>
        </pc:spChg>
        <pc:spChg chg="add del">
          <ac:chgData name="Shanklin, Stephanie [OSHE]" userId="S::stephanie.shanklin@oshe.nj.gov::b636a577-f330-4ab1-8a2e-2044a82cd57d" providerId="AD" clId="Web-{4B3CBBC2-C320-406A-9A32-C332558F4A91}" dt="2024-06-27T21:00:17.694" v="131"/>
          <ac:spMkLst>
            <pc:docMk/>
            <pc:sldMk cId="3687148416" sldId="361"/>
            <ac:spMk id="15" creationId="{6669F804-A677-4B75-95F4-A5E4426FB774}"/>
          </ac:spMkLst>
        </pc:spChg>
        <pc:spChg chg="add">
          <ac:chgData name="Shanklin, Stephanie [OSHE]" userId="S::stephanie.shanklin@oshe.nj.gov::b636a577-f330-4ab1-8a2e-2044a82cd57d" providerId="AD" clId="Web-{4B3CBBC2-C320-406A-9A32-C332558F4A91}" dt="2024-06-27T21:01:18.631" v="136"/>
          <ac:spMkLst>
            <pc:docMk/>
            <pc:sldMk cId="3687148416" sldId="361"/>
            <ac:spMk id="16" creationId="{EE1530B0-6F96-46C0-8B3E-3215CB756BE4}"/>
          </ac:spMkLst>
        </pc:spChg>
        <pc:spChg chg="add del">
          <ac:chgData name="Shanklin, Stephanie [OSHE]" userId="S::stephanie.shanklin@oshe.nj.gov::b636a577-f330-4ab1-8a2e-2044a82cd57d" providerId="AD" clId="Web-{4B3CBBC2-C320-406A-9A32-C332558F4A91}" dt="2024-06-27T21:01:01.459" v="133"/>
          <ac:spMkLst>
            <pc:docMk/>
            <pc:sldMk cId="3687148416" sldId="361"/>
            <ac:spMk id="17" creationId="{2B6C9846-B5AB-4E52-988D-F7E5865C9E4B}"/>
          </ac:spMkLst>
        </pc:spChg>
        <pc:spChg chg="add del">
          <ac:chgData name="Shanklin, Stephanie [OSHE]" userId="S::stephanie.shanklin@oshe.nj.gov::b636a577-f330-4ab1-8a2e-2044a82cd57d" providerId="AD" clId="Web-{4B3CBBC2-C320-406A-9A32-C332558F4A91}" dt="2024-06-27T21:01:01.459" v="133"/>
          <ac:spMkLst>
            <pc:docMk/>
            <pc:sldMk cId="3687148416" sldId="361"/>
            <ac:spMk id="19" creationId="{6F3D7E8E-8467-4198-87E0-ADC1B60467FC}"/>
          </ac:spMkLst>
        </pc:spChg>
        <pc:spChg chg="add del">
          <ac:chgData name="Shanklin, Stephanie [OSHE]" userId="S::stephanie.shanklin@oshe.nj.gov::b636a577-f330-4ab1-8a2e-2044a82cd57d" providerId="AD" clId="Web-{4B3CBBC2-C320-406A-9A32-C332558F4A91}" dt="2024-06-27T20:58:53.928" v="118"/>
          <ac:spMkLst>
            <pc:docMk/>
            <pc:sldMk cId="3687148416" sldId="361"/>
            <ac:spMk id="20" creationId="{8BAD894E-0868-44E3-A66D-61256D6C5854}"/>
          </ac:spMkLst>
        </pc:spChg>
        <pc:spChg chg="add del">
          <ac:chgData name="Shanklin, Stephanie [OSHE]" userId="S::stephanie.shanklin@oshe.nj.gov::b636a577-f330-4ab1-8a2e-2044a82cd57d" providerId="AD" clId="Web-{4B3CBBC2-C320-406A-9A32-C332558F4A91}" dt="2024-06-27T21:01:01.459" v="133"/>
          <ac:spMkLst>
            <pc:docMk/>
            <pc:sldMk cId="3687148416" sldId="361"/>
            <ac:spMk id="21" creationId="{399F85BF-36D0-4946-AAE8-69B89D44E605}"/>
          </ac:spMkLst>
        </pc:spChg>
        <pc:spChg chg="add del">
          <ac:chgData name="Shanklin, Stephanie [OSHE]" userId="S::stephanie.shanklin@oshe.nj.gov::b636a577-f330-4ab1-8a2e-2044a82cd57d" providerId="AD" clId="Web-{4B3CBBC2-C320-406A-9A32-C332558F4A91}" dt="2024-06-27T20:58:53.928" v="118"/>
          <ac:spMkLst>
            <pc:docMk/>
            <pc:sldMk cId="3687148416" sldId="361"/>
            <ac:spMk id="22" creationId="{82BCDE19-2810-4337-9C49-8589C421767D}"/>
          </ac:spMkLst>
        </pc:spChg>
        <pc:spChg chg="add">
          <ac:chgData name="Shanklin, Stephanie [OSHE]" userId="S::stephanie.shanklin@oshe.nj.gov::b636a577-f330-4ab1-8a2e-2044a82cd57d" providerId="AD" clId="Web-{4B3CBBC2-C320-406A-9A32-C332558F4A91}" dt="2024-06-27T21:01:18.631" v="136"/>
          <ac:spMkLst>
            <pc:docMk/>
            <pc:sldMk cId="3687148416" sldId="361"/>
            <ac:spMk id="23" creationId="{754910CF-1B56-45D3-960A-E89F7B3B9131}"/>
          </ac:spMkLst>
        </pc:spChg>
        <pc:spChg chg="add del">
          <ac:chgData name="Shanklin, Stephanie [OSHE]" userId="S::stephanie.shanklin@oshe.nj.gov::b636a577-f330-4ab1-8a2e-2044a82cd57d" providerId="AD" clId="Web-{4B3CBBC2-C320-406A-9A32-C332558F4A91}" dt="2024-06-27T20:58:56.584" v="120"/>
          <ac:spMkLst>
            <pc:docMk/>
            <pc:sldMk cId="3687148416" sldId="361"/>
            <ac:spMk id="24" creationId="{548B4202-DCD5-4F8C-B481-743A989A9DFF}"/>
          </ac:spMkLst>
        </pc:spChg>
        <pc:spChg chg="add del">
          <ac:chgData name="Shanklin, Stephanie [OSHE]" userId="S::stephanie.shanklin@oshe.nj.gov::b636a577-f330-4ab1-8a2e-2044a82cd57d" providerId="AD" clId="Web-{4B3CBBC2-C320-406A-9A32-C332558F4A91}" dt="2024-06-27T20:58:56.584" v="120"/>
          <ac:spMkLst>
            <pc:docMk/>
            <pc:sldMk cId="3687148416" sldId="361"/>
            <ac:spMk id="25" creationId="{D829E218-74FB-4455-98BE-F2C5BA8978BE}"/>
          </ac:spMkLst>
        </pc:spChg>
        <pc:spChg chg="add del">
          <ac:chgData name="Shanklin, Stephanie [OSHE]" userId="S::stephanie.shanklin@oshe.nj.gov::b636a577-f330-4ab1-8a2e-2044a82cd57d" providerId="AD" clId="Web-{4B3CBBC2-C320-406A-9A32-C332558F4A91}" dt="2024-06-27T20:58:56.584" v="120"/>
          <ac:spMkLst>
            <pc:docMk/>
            <pc:sldMk cId="3687148416" sldId="361"/>
            <ac:spMk id="27" creationId="{7E8D75FD-D4F9-4D11-B70D-82EFCB4CFA5B}"/>
          </ac:spMkLst>
        </pc:spChg>
        <pc:spChg chg="add del">
          <ac:chgData name="Shanklin, Stephanie [OSHE]" userId="S::stephanie.shanklin@oshe.nj.gov::b636a577-f330-4ab1-8a2e-2044a82cd57d" providerId="AD" clId="Web-{4B3CBBC2-C320-406A-9A32-C332558F4A91}" dt="2024-06-27T20:58:56.584" v="120"/>
          <ac:spMkLst>
            <pc:docMk/>
            <pc:sldMk cId="3687148416" sldId="361"/>
            <ac:spMk id="28" creationId="{7CFB8C0F-4E01-4C10-A861-0C16EB92D23E}"/>
          </ac:spMkLst>
        </pc:spChg>
        <pc:spChg chg="add del">
          <ac:chgData name="Shanklin, Stephanie [OSHE]" userId="S::stephanie.shanklin@oshe.nj.gov::b636a577-f330-4ab1-8a2e-2044a82cd57d" providerId="AD" clId="Web-{4B3CBBC2-C320-406A-9A32-C332558F4A91}" dt="2024-06-27T20:58:56.584" v="120"/>
          <ac:spMkLst>
            <pc:docMk/>
            <pc:sldMk cId="3687148416" sldId="361"/>
            <ac:spMk id="30" creationId="{8EE702CF-91CE-4661-ACBF-3C8160D1B433}"/>
          </ac:spMkLst>
        </pc:spChg>
        <pc:spChg chg="add">
          <ac:chgData name="Shanklin, Stephanie [OSHE]" userId="S::stephanie.shanklin@oshe.nj.gov::b636a577-f330-4ab1-8a2e-2044a82cd57d" providerId="AD" clId="Web-{4B3CBBC2-C320-406A-9A32-C332558F4A91}" dt="2024-06-27T21:01:18.631" v="136"/>
          <ac:spMkLst>
            <pc:docMk/>
            <pc:sldMk cId="3687148416" sldId="361"/>
            <ac:spMk id="31" creationId="{6669F804-A677-4B75-95F4-A5E4426FB774}"/>
          </ac:spMkLst>
        </pc:spChg>
        <pc:spChg chg="add del">
          <ac:chgData name="Shanklin, Stephanie [OSHE]" userId="S::stephanie.shanklin@oshe.nj.gov::b636a577-f330-4ab1-8a2e-2044a82cd57d" providerId="AD" clId="Web-{4B3CBBC2-C320-406A-9A32-C332558F4A91}" dt="2024-06-27T20:59:01.178" v="122"/>
          <ac:spMkLst>
            <pc:docMk/>
            <pc:sldMk cId="3687148416" sldId="361"/>
            <ac:spMk id="33" creationId="{19C0D743-B1D4-4E51-9DA7-C7D5DFB38BA1}"/>
          </ac:spMkLst>
        </pc:spChg>
        <pc:spChg chg="add del">
          <ac:chgData name="Shanklin, Stephanie [OSHE]" userId="S::stephanie.shanklin@oshe.nj.gov::b636a577-f330-4ab1-8a2e-2044a82cd57d" providerId="AD" clId="Web-{4B3CBBC2-C320-406A-9A32-C332558F4A91}" dt="2024-06-27T20:59:01.178" v="122"/>
          <ac:spMkLst>
            <pc:docMk/>
            <pc:sldMk cId="3687148416" sldId="361"/>
            <ac:spMk id="34" creationId="{9C79E85A-4471-4765-8CC6-CC72735E6DCE}"/>
          </ac:spMkLst>
        </pc:spChg>
        <pc:spChg chg="add del">
          <ac:chgData name="Shanklin, Stephanie [OSHE]" userId="S::stephanie.shanklin@oshe.nj.gov::b636a577-f330-4ab1-8a2e-2044a82cd57d" providerId="AD" clId="Web-{4B3CBBC2-C320-406A-9A32-C332558F4A91}" dt="2024-06-27T20:59:03.600" v="124"/>
          <ac:spMkLst>
            <pc:docMk/>
            <pc:sldMk cId="3687148416" sldId="361"/>
            <ac:spMk id="36" creationId="{D40791F6-715D-481A-9C4A-3645AECFD5A0}"/>
          </ac:spMkLst>
        </pc:spChg>
        <pc:spChg chg="add del">
          <ac:chgData name="Shanklin, Stephanie [OSHE]" userId="S::stephanie.shanklin@oshe.nj.gov::b636a577-f330-4ab1-8a2e-2044a82cd57d" providerId="AD" clId="Web-{4B3CBBC2-C320-406A-9A32-C332558F4A91}" dt="2024-06-27T20:59:03.600" v="124"/>
          <ac:spMkLst>
            <pc:docMk/>
            <pc:sldMk cId="3687148416" sldId="361"/>
            <ac:spMk id="38" creationId="{CADA4CA0-9A57-4FBE-A9E5-24DFC23C3F1A}"/>
          </ac:spMkLst>
        </pc:spChg>
        <pc:spChg chg="add del">
          <ac:chgData name="Shanklin, Stephanie [OSHE]" userId="S::stephanie.shanklin@oshe.nj.gov::b636a577-f330-4ab1-8a2e-2044a82cd57d" providerId="AD" clId="Web-{4B3CBBC2-C320-406A-9A32-C332558F4A91}" dt="2024-06-27T20:59:03.600" v="124"/>
          <ac:spMkLst>
            <pc:docMk/>
            <pc:sldMk cId="3687148416" sldId="361"/>
            <ac:spMk id="39" creationId="{811CBAFA-D7E0-40A7-BB94-2C05304B407B}"/>
          </ac:spMkLst>
        </pc:spChg>
        <pc:graphicFrameChg chg="mod modGraphic">
          <ac:chgData name="Shanklin, Stephanie [OSHE]" userId="S::stephanie.shanklin@oshe.nj.gov::b636a577-f330-4ab1-8a2e-2044a82cd57d" providerId="AD" clId="Web-{4B3CBBC2-C320-406A-9A32-C332558F4A91}" dt="2024-06-27T21:02:17.553" v="138" actId="20577"/>
          <ac:graphicFrameMkLst>
            <pc:docMk/>
            <pc:sldMk cId="3687148416" sldId="361"/>
            <ac:graphicFrameMk id="5" creationId="{18A180C9-34EB-72E8-8271-FA349621F8F7}"/>
          </ac:graphicFrameMkLst>
        </pc:graphicFrameChg>
        <pc:cxnChg chg="add del">
          <ac:chgData name="Shanklin, Stephanie [OSHE]" userId="S::stephanie.shanklin@oshe.nj.gov::b636a577-f330-4ab1-8a2e-2044a82cd57d" providerId="AD" clId="Web-{4B3CBBC2-C320-406A-9A32-C332558F4A91}" dt="2024-06-27T20:58:53.928" v="118"/>
          <ac:cxnSpMkLst>
            <pc:docMk/>
            <pc:sldMk cId="3687148416" sldId="361"/>
            <ac:cxnSpMk id="18" creationId="{38A34772-9011-42B5-AA63-FD6DEC92EE72}"/>
          </ac:cxnSpMkLst>
        </pc:cxnChg>
        <pc:cxnChg chg="add del">
          <ac:chgData name="Shanklin, Stephanie [OSHE]" userId="S::stephanie.shanklin@oshe.nj.gov::b636a577-f330-4ab1-8a2e-2044a82cd57d" providerId="AD" clId="Web-{4B3CBBC2-C320-406A-9A32-C332558F4A91}" dt="2024-06-27T20:58:56.584" v="120"/>
          <ac:cxnSpMkLst>
            <pc:docMk/>
            <pc:sldMk cId="3687148416" sldId="361"/>
            <ac:cxnSpMk id="26" creationId="{F7F57F6B-E621-4E40-A34D-2FE12902AA20}"/>
          </ac:cxnSpMkLst>
        </pc:cxnChg>
        <pc:cxnChg chg="add del">
          <ac:chgData name="Shanklin, Stephanie [OSHE]" userId="S::stephanie.shanklin@oshe.nj.gov::b636a577-f330-4ab1-8a2e-2044a82cd57d" providerId="AD" clId="Web-{4B3CBBC2-C320-406A-9A32-C332558F4A91}" dt="2024-06-27T20:58:56.584" v="120"/>
          <ac:cxnSpMkLst>
            <pc:docMk/>
            <pc:sldMk cId="3687148416" sldId="361"/>
            <ac:cxnSpMk id="29" creationId="{1F5DC8C3-BA5F-4EED-BB9A-A14272BD82A1}"/>
          </ac:cxnSpMkLst>
        </pc:cxnChg>
        <pc:cxnChg chg="add del">
          <ac:chgData name="Shanklin, Stephanie [OSHE]" userId="S::stephanie.shanklin@oshe.nj.gov::b636a577-f330-4ab1-8a2e-2044a82cd57d" providerId="AD" clId="Web-{4B3CBBC2-C320-406A-9A32-C332558F4A91}" dt="2024-06-27T20:59:01.178" v="122"/>
          <ac:cxnSpMkLst>
            <pc:docMk/>
            <pc:sldMk cId="3687148416" sldId="361"/>
            <ac:cxnSpMk id="32" creationId="{22E0153F-9015-419B-A6CF-89D70D5A9093}"/>
          </ac:cxnSpMkLst>
        </pc:cxnChg>
        <pc:cxnChg chg="add del">
          <ac:chgData name="Shanklin, Stephanie [OSHE]" userId="S::stephanie.shanklin@oshe.nj.gov::b636a577-f330-4ab1-8a2e-2044a82cd57d" providerId="AD" clId="Web-{4B3CBBC2-C320-406A-9A32-C332558F4A91}" dt="2024-06-27T20:59:03.600" v="124"/>
          <ac:cxnSpMkLst>
            <pc:docMk/>
            <pc:sldMk cId="3687148416" sldId="361"/>
            <ac:cxnSpMk id="37" creationId="{740F83A4-FAC4-4867-95A5-BBFD280C7BF5}"/>
          </ac:cxnSpMkLst>
        </pc:cxnChg>
      </pc:sldChg>
      <pc:sldChg chg="modSp new del">
        <pc:chgData name="Shanklin, Stephanie [OSHE]" userId="S::stephanie.shanklin@oshe.nj.gov::b636a577-f330-4ab1-8a2e-2044a82cd57d" providerId="AD" clId="Web-{4B3CBBC2-C320-406A-9A32-C332558F4A91}" dt="2024-06-27T20:52:29.788" v="79"/>
        <pc:sldMkLst>
          <pc:docMk/>
          <pc:sldMk cId="4010508944" sldId="361"/>
        </pc:sldMkLst>
        <pc:spChg chg="mod">
          <ac:chgData name="Shanklin, Stephanie [OSHE]" userId="S::stephanie.shanklin@oshe.nj.gov::b636a577-f330-4ab1-8a2e-2044a82cd57d" providerId="AD" clId="Web-{4B3CBBC2-C320-406A-9A32-C332558F4A91}" dt="2024-06-27T20:52:21.210" v="77" actId="20577"/>
          <ac:spMkLst>
            <pc:docMk/>
            <pc:sldMk cId="4010508944" sldId="361"/>
            <ac:spMk id="2" creationId="{67F22BC7-0EB4-6D5D-7F3A-B7F101BBAA5E}"/>
          </ac:spMkLst>
        </pc:spChg>
        <pc:spChg chg="mod">
          <ac:chgData name="Shanklin, Stephanie [OSHE]" userId="S::stephanie.shanklin@oshe.nj.gov::b636a577-f330-4ab1-8a2e-2044a82cd57d" providerId="AD" clId="Web-{4B3CBBC2-C320-406A-9A32-C332558F4A91}" dt="2024-06-27T20:52:05.054" v="62" actId="20577"/>
          <ac:spMkLst>
            <pc:docMk/>
            <pc:sldMk cId="4010508944" sldId="361"/>
            <ac:spMk id="3" creationId="{B5D6BD9B-D8E9-F032-717B-ABDF5C0229D6}"/>
          </ac:spMkLst>
        </pc:spChg>
        <pc:spChg chg="mod">
          <ac:chgData name="Shanklin, Stephanie [OSHE]" userId="S::stephanie.shanklin@oshe.nj.gov::b636a577-f330-4ab1-8a2e-2044a82cd57d" providerId="AD" clId="Web-{4B3CBBC2-C320-406A-9A32-C332558F4A91}" dt="2024-06-27T20:52:14.694" v="73" actId="20577"/>
          <ac:spMkLst>
            <pc:docMk/>
            <pc:sldMk cId="4010508944" sldId="361"/>
            <ac:spMk id="4" creationId="{79A1368A-F0CD-C544-16C2-F7BC5707CB35}"/>
          </ac:spMkLst>
        </pc:spChg>
      </pc:sldChg>
      <pc:sldChg chg="new del">
        <pc:chgData name="Shanklin, Stephanie [OSHE]" userId="S::stephanie.shanklin@oshe.nj.gov::b636a577-f330-4ab1-8a2e-2044a82cd57d" providerId="AD" clId="Web-{4B3CBBC2-C320-406A-9A32-C332558F4A91}" dt="2024-06-27T20:53:54.585" v="86"/>
        <pc:sldMkLst>
          <pc:docMk/>
          <pc:sldMk cId="4219602755" sldId="361"/>
        </pc:sldMkLst>
      </pc:sldChg>
      <pc:sldChg chg="add del replId">
        <pc:chgData name="Shanklin, Stephanie [OSHE]" userId="S::stephanie.shanklin@oshe.nj.gov::b636a577-f330-4ab1-8a2e-2044a82cd57d" providerId="AD" clId="Web-{4B3CBBC2-C320-406A-9A32-C332558F4A91}" dt="2024-06-27T20:54:47.085" v="89"/>
        <pc:sldMkLst>
          <pc:docMk/>
          <pc:sldMk cId="4251369903" sldId="362"/>
        </pc:sldMkLst>
      </pc:sldChg>
    </pc:docChg>
  </pc:docChgLst>
  <pc:docChgLst>
    <pc:chgData name="Shanklin, Stephanie [OSHE]" userId="S::stephanie.shanklin@oshe.nj.gov::b636a577-f330-4ab1-8a2e-2044a82cd57d" providerId="AD" clId="Web-{473BCAAF-CB6D-411B-80AF-D3CBF20319E2}"/>
    <pc:docChg chg="addSld modSld">
      <pc:chgData name="Shanklin, Stephanie [OSHE]" userId="S::stephanie.shanklin@oshe.nj.gov::b636a577-f330-4ab1-8a2e-2044a82cd57d" providerId="AD" clId="Web-{473BCAAF-CB6D-411B-80AF-D3CBF20319E2}" dt="2024-06-27T18:37:48.610" v="60" actId="20577"/>
      <pc:docMkLst>
        <pc:docMk/>
      </pc:docMkLst>
      <pc:sldChg chg="modSp">
        <pc:chgData name="Shanklin, Stephanie [OSHE]" userId="S::stephanie.shanklin@oshe.nj.gov::b636a577-f330-4ab1-8a2e-2044a82cd57d" providerId="AD" clId="Web-{473BCAAF-CB6D-411B-80AF-D3CBF20319E2}" dt="2024-06-27T18:15:53.680" v="28" actId="20577"/>
        <pc:sldMkLst>
          <pc:docMk/>
          <pc:sldMk cId="2521177469" sldId="352"/>
        </pc:sldMkLst>
        <pc:spChg chg="mod">
          <ac:chgData name="Shanklin, Stephanie [OSHE]" userId="S::stephanie.shanklin@oshe.nj.gov::b636a577-f330-4ab1-8a2e-2044a82cd57d" providerId="AD" clId="Web-{473BCAAF-CB6D-411B-80AF-D3CBF20319E2}" dt="2024-06-27T18:15:53.680" v="28" actId="20577"/>
          <ac:spMkLst>
            <pc:docMk/>
            <pc:sldMk cId="2521177469" sldId="352"/>
            <ac:spMk id="6" creationId="{00000000-0000-0000-0000-000000000000}"/>
          </ac:spMkLst>
        </pc:spChg>
      </pc:sldChg>
      <pc:sldChg chg="modSp">
        <pc:chgData name="Shanklin, Stephanie [OSHE]" userId="S::stephanie.shanklin@oshe.nj.gov::b636a577-f330-4ab1-8a2e-2044a82cd57d" providerId="AD" clId="Web-{473BCAAF-CB6D-411B-80AF-D3CBF20319E2}" dt="2024-06-27T18:29:54.347" v="42" actId="1076"/>
        <pc:sldMkLst>
          <pc:docMk/>
          <pc:sldMk cId="4131873519" sldId="354"/>
        </pc:sldMkLst>
        <pc:graphicFrameChg chg="mod">
          <ac:chgData name="Shanklin, Stephanie [OSHE]" userId="S::stephanie.shanklin@oshe.nj.gov::b636a577-f330-4ab1-8a2e-2044a82cd57d" providerId="AD" clId="Web-{473BCAAF-CB6D-411B-80AF-D3CBF20319E2}" dt="2024-06-27T18:29:54.347" v="42" actId="1076"/>
          <ac:graphicFrameMkLst>
            <pc:docMk/>
            <pc:sldMk cId="4131873519" sldId="354"/>
            <ac:graphicFrameMk id="23" creationId="{A5EAF8FA-BFA7-24CE-DC03-173D26B42DAA}"/>
          </ac:graphicFrameMkLst>
        </pc:graphicFrameChg>
      </pc:sldChg>
      <pc:sldChg chg="modSp">
        <pc:chgData name="Shanklin, Stephanie [OSHE]" userId="S::stephanie.shanklin@oshe.nj.gov::b636a577-f330-4ab1-8a2e-2044a82cd57d" providerId="AD" clId="Web-{473BCAAF-CB6D-411B-80AF-D3CBF20319E2}" dt="2024-06-27T18:12:49.618" v="5" actId="20577"/>
        <pc:sldMkLst>
          <pc:docMk/>
          <pc:sldMk cId="1523652521" sldId="356"/>
        </pc:sldMkLst>
        <pc:spChg chg="mod">
          <ac:chgData name="Shanklin, Stephanie [OSHE]" userId="S::stephanie.shanklin@oshe.nj.gov::b636a577-f330-4ab1-8a2e-2044a82cd57d" providerId="AD" clId="Web-{473BCAAF-CB6D-411B-80AF-D3CBF20319E2}" dt="2024-06-27T18:10:52.385" v="2" actId="20577"/>
          <ac:spMkLst>
            <pc:docMk/>
            <pc:sldMk cId="1523652521" sldId="356"/>
            <ac:spMk id="2" creationId="{00000000-0000-0000-0000-000000000000}"/>
          </ac:spMkLst>
        </pc:spChg>
        <pc:spChg chg="mod">
          <ac:chgData name="Shanklin, Stephanie [OSHE]" userId="S::stephanie.shanklin@oshe.nj.gov::b636a577-f330-4ab1-8a2e-2044a82cd57d" providerId="AD" clId="Web-{473BCAAF-CB6D-411B-80AF-D3CBF20319E2}" dt="2024-06-27T18:12:49.618" v="5" actId="20577"/>
          <ac:spMkLst>
            <pc:docMk/>
            <pc:sldMk cId="1523652521" sldId="356"/>
            <ac:spMk id="3" creationId="{00000000-0000-0000-0000-000000000000}"/>
          </ac:spMkLst>
        </pc:spChg>
      </pc:sldChg>
      <pc:sldChg chg="modSp">
        <pc:chgData name="Shanklin, Stephanie [OSHE]" userId="S::stephanie.shanklin@oshe.nj.gov::b636a577-f330-4ab1-8a2e-2044a82cd57d" providerId="AD" clId="Web-{473BCAAF-CB6D-411B-80AF-D3CBF20319E2}" dt="2024-06-27T18:25:36.036" v="40" actId="20577"/>
        <pc:sldMkLst>
          <pc:docMk/>
          <pc:sldMk cId="1776995459" sldId="358"/>
        </pc:sldMkLst>
        <pc:graphicFrameChg chg="modGraphic">
          <ac:chgData name="Shanklin, Stephanie [OSHE]" userId="S::stephanie.shanklin@oshe.nj.gov::b636a577-f330-4ab1-8a2e-2044a82cd57d" providerId="AD" clId="Web-{473BCAAF-CB6D-411B-80AF-D3CBF20319E2}" dt="2024-06-27T18:25:36.036" v="40" actId="20577"/>
          <ac:graphicFrameMkLst>
            <pc:docMk/>
            <pc:sldMk cId="1776995459" sldId="358"/>
            <ac:graphicFrameMk id="6" creationId="{0183A03C-A154-BBF2-2AB1-58E29437F211}"/>
          </ac:graphicFrameMkLst>
        </pc:graphicFrameChg>
      </pc:sldChg>
      <pc:sldChg chg="modSp">
        <pc:chgData name="Shanklin, Stephanie [OSHE]" userId="S::stephanie.shanklin@oshe.nj.gov::b636a577-f330-4ab1-8a2e-2044a82cd57d" providerId="AD" clId="Web-{473BCAAF-CB6D-411B-80AF-D3CBF20319E2}" dt="2024-06-27T18:37:48.610" v="60" actId="20577"/>
        <pc:sldMkLst>
          <pc:docMk/>
          <pc:sldMk cId="487618856" sldId="359"/>
        </pc:sldMkLst>
        <pc:graphicFrameChg chg="modGraphic">
          <ac:chgData name="Shanklin, Stephanie [OSHE]" userId="S::stephanie.shanklin@oshe.nj.gov::b636a577-f330-4ab1-8a2e-2044a82cd57d" providerId="AD" clId="Web-{473BCAAF-CB6D-411B-80AF-D3CBF20319E2}" dt="2024-06-27T18:37:48.610" v="60" actId="20577"/>
          <ac:graphicFrameMkLst>
            <pc:docMk/>
            <pc:sldMk cId="487618856" sldId="359"/>
            <ac:graphicFrameMk id="25" creationId="{BD3B59B1-C6D8-402D-F422-AB288E558101}"/>
          </ac:graphicFrameMkLst>
        </pc:graphicFrameChg>
      </pc:sldChg>
      <pc:sldChg chg="new">
        <pc:chgData name="Shanklin, Stephanie [OSHE]" userId="S::stephanie.shanklin@oshe.nj.gov::b636a577-f330-4ab1-8a2e-2044a82cd57d" providerId="AD" clId="Web-{473BCAAF-CB6D-411B-80AF-D3CBF20319E2}" dt="2024-06-27T18:29:47.394" v="41"/>
        <pc:sldMkLst>
          <pc:docMk/>
          <pc:sldMk cId="356471407" sldId="360"/>
        </pc:sldMkLst>
      </pc:sldChg>
    </pc:docChg>
  </pc:docChgLst>
  <pc:docChgLst>
    <pc:chgData name="Shanklin, Stephanie [OSHE]" userId="S::stephanie.shanklin@oshe.nj.gov::b636a577-f330-4ab1-8a2e-2044a82cd57d" providerId="AD" clId="Web-{58C29C7C-608F-4C9A-AD3C-85FE117F24F8}"/>
    <pc:docChg chg="modSld">
      <pc:chgData name="Shanklin, Stephanie [OSHE]" userId="S::stephanie.shanklin@oshe.nj.gov::b636a577-f330-4ab1-8a2e-2044a82cd57d" providerId="AD" clId="Web-{58C29C7C-608F-4C9A-AD3C-85FE117F24F8}" dt="2024-06-27T18:46:14.003" v="2" actId="20577"/>
      <pc:docMkLst>
        <pc:docMk/>
      </pc:docMkLst>
      <pc:sldChg chg="modSp">
        <pc:chgData name="Shanklin, Stephanie [OSHE]" userId="S::stephanie.shanklin@oshe.nj.gov::b636a577-f330-4ab1-8a2e-2044a82cd57d" providerId="AD" clId="Web-{58C29C7C-608F-4C9A-AD3C-85FE117F24F8}" dt="2024-06-27T18:46:14.003" v="2" actId="20577"/>
        <pc:sldMkLst>
          <pc:docMk/>
          <pc:sldMk cId="1523652521" sldId="356"/>
        </pc:sldMkLst>
        <pc:spChg chg="mod">
          <ac:chgData name="Shanklin, Stephanie [OSHE]" userId="S::stephanie.shanklin@oshe.nj.gov::b636a577-f330-4ab1-8a2e-2044a82cd57d" providerId="AD" clId="Web-{58C29C7C-608F-4C9A-AD3C-85FE117F24F8}" dt="2024-06-27T18:46:14.003" v="2" actId="20577"/>
          <ac:spMkLst>
            <pc:docMk/>
            <pc:sldMk cId="1523652521" sldId="356"/>
            <ac:spMk id="3" creationId="{00000000-0000-0000-0000-000000000000}"/>
          </ac:spMkLst>
        </pc:sp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svg"/><Relationship Id="rId1" Type="http://schemas.openxmlformats.org/officeDocument/2006/relationships/image" Target="../media/image13.png"/><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diagrams/_rels/data3.xml.rels><?xml version="1.0" encoding="UTF-8" standalone="yes"?>
<Relationships xmlns="http://schemas.openxmlformats.org/package/2006/relationships"><Relationship Id="rId1" Type="http://schemas.openxmlformats.org/officeDocument/2006/relationships/hyperlink" Target="mailto:EOF@oshe.nj.gov" TargetMode="External"/></Relationships>
</file>

<file path=ppt/diagrams/_rels/data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svg"/><Relationship Id="rId1" Type="http://schemas.openxmlformats.org/officeDocument/2006/relationships/image" Target="../media/image19.png"/><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svg"/></Relationships>
</file>

<file path=ppt/diagrams/_rels/data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svg"/><Relationship Id="rId1" Type="http://schemas.openxmlformats.org/officeDocument/2006/relationships/image" Target="../media/image25.png"/><Relationship Id="rId4" Type="http://schemas.openxmlformats.org/officeDocument/2006/relationships/image" Target="../media/image28.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svg"/><Relationship Id="rId1" Type="http://schemas.openxmlformats.org/officeDocument/2006/relationships/image" Target="../media/image13.png"/><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diagrams/_rels/drawing3.xml.rels><?xml version="1.0" encoding="UTF-8" standalone="yes"?>
<Relationships xmlns="http://schemas.openxmlformats.org/package/2006/relationships"><Relationship Id="rId1" Type="http://schemas.openxmlformats.org/officeDocument/2006/relationships/hyperlink" Target="mailto:EOF@oshe.nj.gov" TargetMode="External"/></Relationships>
</file>

<file path=ppt/diagrams/_rels/drawing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svg"/><Relationship Id="rId1" Type="http://schemas.openxmlformats.org/officeDocument/2006/relationships/image" Target="../media/image19.png"/><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svg"/></Relationships>
</file>

<file path=ppt/diagrams/_rels/drawing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svg"/><Relationship Id="rId1" Type="http://schemas.openxmlformats.org/officeDocument/2006/relationships/image" Target="../media/image25.png"/><Relationship Id="rId4" Type="http://schemas.openxmlformats.org/officeDocument/2006/relationships/image" Target="../media/image28.svg"/></Relationships>
</file>

<file path=ppt/diagrams/colors1.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18/5/colors/Iconchunking_neutralicon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bg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028283B-AE12-44A1-848E-AC1E0A949057}"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291EEE4F-1390-4EF4-9815-04BCBDF9D2E2}">
      <dgm:prSet/>
      <dgm:spPr/>
      <dgm:t>
        <a:bodyPr/>
        <a:lstStyle/>
        <a:p>
          <a:r>
            <a:rPr lang="en-US" dirty="0"/>
            <a:t>Provide a general overview and answer any questions.</a:t>
          </a:r>
        </a:p>
      </dgm:t>
    </dgm:pt>
    <dgm:pt modelId="{38B1894A-F784-4794-958E-AB0B466DB970}" type="parTrans" cxnId="{E86C7C18-F107-4A5B-BD19-81FA49C13768}">
      <dgm:prSet/>
      <dgm:spPr/>
      <dgm:t>
        <a:bodyPr/>
        <a:lstStyle/>
        <a:p>
          <a:endParaRPr lang="en-US"/>
        </a:p>
      </dgm:t>
    </dgm:pt>
    <dgm:pt modelId="{C7AA3D28-E91B-44C0-9AF8-8760BF418C17}" type="sibTrans" cxnId="{E86C7C18-F107-4A5B-BD19-81FA49C13768}">
      <dgm:prSet/>
      <dgm:spPr/>
      <dgm:t>
        <a:bodyPr/>
        <a:lstStyle/>
        <a:p>
          <a:endParaRPr lang="en-US"/>
        </a:p>
      </dgm:t>
    </dgm:pt>
    <dgm:pt modelId="{6A5AE899-B101-4A68-8DE7-EB82A76058B4}">
      <dgm:prSet/>
      <dgm:spPr/>
      <dgm:t>
        <a:bodyPr/>
        <a:lstStyle/>
        <a:p>
          <a:r>
            <a:rPr lang="en-US" dirty="0"/>
            <a:t>Provide a brief review on how to properly complete the application.</a:t>
          </a:r>
          <a:endParaRPr lang="en-US" u="sng" dirty="0"/>
        </a:p>
      </dgm:t>
    </dgm:pt>
    <dgm:pt modelId="{20448FAE-8C58-4C8F-985B-C5A59D07B802}" type="parTrans" cxnId="{28300C14-13F9-4E72-A4D3-0A54D4AA0A2B}">
      <dgm:prSet/>
      <dgm:spPr/>
      <dgm:t>
        <a:bodyPr/>
        <a:lstStyle/>
        <a:p>
          <a:endParaRPr lang="en-US"/>
        </a:p>
      </dgm:t>
    </dgm:pt>
    <dgm:pt modelId="{20E357E2-D1B6-4808-BEA1-1F065683E47B}" type="sibTrans" cxnId="{28300C14-13F9-4E72-A4D3-0A54D4AA0A2B}">
      <dgm:prSet/>
      <dgm:spPr/>
      <dgm:t>
        <a:bodyPr/>
        <a:lstStyle/>
        <a:p>
          <a:endParaRPr lang="en-US"/>
        </a:p>
      </dgm:t>
    </dgm:pt>
    <dgm:pt modelId="{38B42B12-4E48-4BF5-9444-F779DB975752}">
      <dgm:prSet/>
      <dgm:spPr/>
      <dgm:t>
        <a:bodyPr/>
        <a:lstStyle/>
        <a:p>
          <a:r>
            <a:rPr lang="en-US" dirty="0"/>
            <a:t>Review of Deadlines and Submission Requirements.</a:t>
          </a:r>
        </a:p>
      </dgm:t>
    </dgm:pt>
    <dgm:pt modelId="{F3D8411A-F665-4DB7-A315-14FE986FD613}" type="parTrans" cxnId="{57BEC137-DD96-441F-8F34-A5F57179D8E5}">
      <dgm:prSet/>
      <dgm:spPr/>
      <dgm:t>
        <a:bodyPr/>
        <a:lstStyle/>
        <a:p>
          <a:endParaRPr lang="en-US"/>
        </a:p>
      </dgm:t>
    </dgm:pt>
    <dgm:pt modelId="{11285399-9CDF-476E-A381-0314864695EF}" type="sibTrans" cxnId="{57BEC137-DD96-441F-8F34-A5F57179D8E5}">
      <dgm:prSet/>
      <dgm:spPr/>
      <dgm:t>
        <a:bodyPr/>
        <a:lstStyle/>
        <a:p>
          <a:endParaRPr lang="en-US"/>
        </a:p>
      </dgm:t>
    </dgm:pt>
    <dgm:pt modelId="{62AEFE09-76C2-451A-B97D-7DDE51BBDBEB}" type="pres">
      <dgm:prSet presAssocID="{3028283B-AE12-44A1-848E-AC1E0A949057}" presName="root" presStyleCnt="0">
        <dgm:presLayoutVars>
          <dgm:dir/>
          <dgm:resizeHandles val="exact"/>
        </dgm:presLayoutVars>
      </dgm:prSet>
      <dgm:spPr/>
    </dgm:pt>
    <dgm:pt modelId="{613F9092-8AE6-4CEB-92AC-0D3CAB879C13}" type="pres">
      <dgm:prSet presAssocID="{291EEE4F-1390-4EF4-9815-04BCBDF9D2E2}" presName="compNode" presStyleCnt="0"/>
      <dgm:spPr/>
    </dgm:pt>
    <dgm:pt modelId="{65D7BF4D-A679-48EF-8A2E-E2CF0B45C379}" type="pres">
      <dgm:prSet presAssocID="{291EEE4F-1390-4EF4-9815-04BCBDF9D2E2}" presName="bgRect" presStyleLbl="bgShp" presStyleIdx="0" presStyleCnt="3"/>
      <dgm:spPr/>
    </dgm:pt>
    <dgm:pt modelId="{84A34CB4-3822-46A5-A5EC-A37B26CE3D35}" type="pres">
      <dgm:prSet presAssocID="{291EEE4F-1390-4EF4-9815-04BCBDF9D2E2}" presName="iconRect" presStyleLbl="node1" presStyleIdx="0" presStyleCnt="3"/>
      <dgm:spPr>
        <a:blipFill>
          <a:blip xmlns:r="http://schemas.openxmlformats.org/officeDocument/2006/relationships" r:embed="rId1"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Questions"/>
        </a:ext>
      </dgm:extLst>
    </dgm:pt>
    <dgm:pt modelId="{03C4BE4F-893A-4A87-B927-BC70844407C5}" type="pres">
      <dgm:prSet presAssocID="{291EEE4F-1390-4EF4-9815-04BCBDF9D2E2}" presName="spaceRect" presStyleCnt="0"/>
      <dgm:spPr/>
    </dgm:pt>
    <dgm:pt modelId="{FD5D82F4-04D7-4659-9978-D66ADDFE3A73}" type="pres">
      <dgm:prSet presAssocID="{291EEE4F-1390-4EF4-9815-04BCBDF9D2E2}" presName="parTx" presStyleLbl="revTx" presStyleIdx="0" presStyleCnt="3">
        <dgm:presLayoutVars>
          <dgm:chMax val="0"/>
          <dgm:chPref val="0"/>
        </dgm:presLayoutVars>
      </dgm:prSet>
      <dgm:spPr/>
    </dgm:pt>
    <dgm:pt modelId="{AF02E066-21E1-487F-96D0-966A0B5F1AB5}" type="pres">
      <dgm:prSet presAssocID="{C7AA3D28-E91B-44C0-9AF8-8760BF418C17}" presName="sibTrans" presStyleCnt="0"/>
      <dgm:spPr/>
    </dgm:pt>
    <dgm:pt modelId="{0D87F571-3859-45D0-A1B3-1C3527DD5D4A}" type="pres">
      <dgm:prSet presAssocID="{6A5AE899-B101-4A68-8DE7-EB82A76058B4}" presName="compNode" presStyleCnt="0"/>
      <dgm:spPr/>
    </dgm:pt>
    <dgm:pt modelId="{E771B4FA-0948-4E8D-A42B-EB5C02156C80}" type="pres">
      <dgm:prSet presAssocID="{6A5AE899-B101-4A68-8DE7-EB82A76058B4}" presName="bgRect" presStyleLbl="bgShp" presStyleIdx="1" presStyleCnt="3"/>
      <dgm:spPr/>
    </dgm:pt>
    <dgm:pt modelId="{5C73CCA9-1ED1-4ABE-90D5-4CA85ABC1607}" type="pres">
      <dgm:prSet presAssocID="{6A5AE899-B101-4A68-8DE7-EB82A76058B4}"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heckmark"/>
        </a:ext>
      </dgm:extLst>
    </dgm:pt>
    <dgm:pt modelId="{2449EEB8-47B8-450F-AC89-AE08EB5DA4BF}" type="pres">
      <dgm:prSet presAssocID="{6A5AE899-B101-4A68-8DE7-EB82A76058B4}" presName="spaceRect" presStyleCnt="0"/>
      <dgm:spPr/>
    </dgm:pt>
    <dgm:pt modelId="{0BA9A6BC-1198-4804-A4DC-CF56611BF971}" type="pres">
      <dgm:prSet presAssocID="{6A5AE899-B101-4A68-8DE7-EB82A76058B4}" presName="parTx" presStyleLbl="revTx" presStyleIdx="1" presStyleCnt="3">
        <dgm:presLayoutVars>
          <dgm:chMax val="0"/>
          <dgm:chPref val="0"/>
        </dgm:presLayoutVars>
      </dgm:prSet>
      <dgm:spPr/>
    </dgm:pt>
    <dgm:pt modelId="{50A656AB-7F1D-48AF-83C7-43863CAB318A}" type="pres">
      <dgm:prSet presAssocID="{20E357E2-D1B6-4808-BEA1-1F065683E47B}" presName="sibTrans" presStyleCnt="0"/>
      <dgm:spPr/>
    </dgm:pt>
    <dgm:pt modelId="{B4F87924-4365-4771-8843-C1D9DFECB6F7}" type="pres">
      <dgm:prSet presAssocID="{38B42B12-4E48-4BF5-9444-F779DB975752}" presName="compNode" presStyleCnt="0"/>
      <dgm:spPr/>
    </dgm:pt>
    <dgm:pt modelId="{F62B6177-7AF6-45AA-90FA-1C310B82B06B}" type="pres">
      <dgm:prSet presAssocID="{38B42B12-4E48-4BF5-9444-F779DB975752}" presName="bgRect" presStyleLbl="bgShp" presStyleIdx="2" presStyleCnt="3"/>
      <dgm:spPr/>
    </dgm:pt>
    <dgm:pt modelId="{C8862DD0-95CF-4B31-A6C0-EE02BEE6CB78}" type="pres">
      <dgm:prSet presAssocID="{38B42B12-4E48-4BF5-9444-F779DB975752}" presName="iconRect" presStyleLbl="node1" presStyleIdx="2" presStyleCnt="3"/>
      <dgm:spPr>
        <a:blipFill>
          <a:blip xmlns:r="http://schemas.openxmlformats.org/officeDocument/2006/relationships"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Stopwatch"/>
        </a:ext>
      </dgm:extLst>
    </dgm:pt>
    <dgm:pt modelId="{9A7E03C4-F7AD-4E69-B3B8-D392620B1161}" type="pres">
      <dgm:prSet presAssocID="{38B42B12-4E48-4BF5-9444-F779DB975752}" presName="spaceRect" presStyleCnt="0"/>
      <dgm:spPr/>
    </dgm:pt>
    <dgm:pt modelId="{023631A1-92B3-4E57-A8D6-D7B5981DCB0F}" type="pres">
      <dgm:prSet presAssocID="{38B42B12-4E48-4BF5-9444-F779DB975752}" presName="parTx" presStyleLbl="revTx" presStyleIdx="2" presStyleCnt="3">
        <dgm:presLayoutVars>
          <dgm:chMax val="0"/>
          <dgm:chPref val="0"/>
        </dgm:presLayoutVars>
      </dgm:prSet>
      <dgm:spPr/>
    </dgm:pt>
  </dgm:ptLst>
  <dgm:cxnLst>
    <dgm:cxn modelId="{96BDEF0D-09E0-4DB6-A183-93AB188E57A2}" type="presOf" srcId="{38B42B12-4E48-4BF5-9444-F779DB975752}" destId="{023631A1-92B3-4E57-A8D6-D7B5981DCB0F}" srcOrd="0" destOrd="0" presId="urn:microsoft.com/office/officeart/2018/2/layout/IconVerticalSolidList"/>
    <dgm:cxn modelId="{28300C14-13F9-4E72-A4D3-0A54D4AA0A2B}" srcId="{3028283B-AE12-44A1-848E-AC1E0A949057}" destId="{6A5AE899-B101-4A68-8DE7-EB82A76058B4}" srcOrd="1" destOrd="0" parTransId="{20448FAE-8C58-4C8F-985B-C5A59D07B802}" sibTransId="{20E357E2-D1B6-4808-BEA1-1F065683E47B}"/>
    <dgm:cxn modelId="{E86C7C18-F107-4A5B-BD19-81FA49C13768}" srcId="{3028283B-AE12-44A1-848E-AC1E0A949057}" destId="{291EEE4F-1390-4EF4-9815-04BCBDF9D2E2}" srcOrd="0" destOrd="0" parTransId="{38B1894A-F784-4794-958E-AB0B466DB970}" sibTransId="{C7AA3D28-E91B-44C0-9AF8-8760BF418C17}"/>
    <dgm:cxn modelId="{57BEC137-DD96-441F-8F34-A5F57179D8E5}" srcId="{3028283B-AE12-44A1-848E-AC1E0A949057}" destId="{38B42B12-4E48-4BF5-9444-F779DB975752}" srcOrd="2" destOrd="0" parTransId="{F3D8411A-F665-4DB7-A315-14FE986FD613}" sibTransId="{11285399-9CDF-476E-A381-0314864695EF}"/>
    <dgm:cxn modelId="{9349BD40-8E0B-40CC-B0ED-A7258D98231D}" type="presOf" srcId="{3028283B-AE12-44A1-848E-AC1E0A949057}" destId="{62AEFE09-76C2-451A-B97D-7DDE51BBDBEB}" srcOrd="0" destOrd="0" presId="urn:microsoft.com/office/officeart/2018/2/layout/IconVerticalSolidList"/>
    <dgm:cxn modelId="{41881343-6DDD-44D4-8DE5-FAE9F2DDDCDF}" type="presOf" srcId="{291EEE4F-1390-4EF4-9815-04BCBDF9D2E2}" destId="{FD5D82F4-04D7-4659-9978-D66ADDFE3A73}" srcOrd="0" destOrd="0" presId="urn:microsoft.com/office/officeart/2018/2/layout/IconVerticalSolidList"/>
    <dgm:cxn modelId="{B61D49C1-2CC0-4653-B0F7-2EE9F08B0D28}" type="presOf" srcId="{6A5AE899-B101-4A68-8DE7-EB82A76058B4}" destId="{0BA9A6BC-1198-4804-A4DC-CF56611BF971}" srcOrd="0" destOrd="0" presId="urn:microsoft.com/office/officeart/2018/2/layout/IconVerticalSolidList"/>
    <dgm:cxn modelId="{5C61D22D-FF0C-4A6D-986F-F9A50C55D56B}" type="presParOf" srcId="{62AEFE09-76C2-451A-B97D-7DDE51BBDBEB}" destId="{613F9092-8AE6-4CEB-92AC-0D3CAB879C13}" srcOrd="0" destOrd="0" presId="urn:microsoft.com/office/officeart/2018/2/layout/IconVerticalSolidList"/>
    <dgm:cxn modelId="{8D512396-1FFB-45C2-9D02-5852FCAB1774}" type="presParOf" srcId="{613F9092-8AE6-4CEB-92AC-0D3CAB879C13}" destId="{65D7BF4D-A679-48EF-8A2E-E2CF0B45C379}" srcOrd="0" destOrd="0" presId="urn:microsoft.com/office/officeart/2018/2/layout/IconVerticalSolidList"/>
    <dgm:cxn modelId="{2703432D-3D0E-463B-A4F2-7AFAE8AF2423}" type="presParOf" srcId="{613F9092-8AE6-4CEB-92AC-0D3CAB879C13}" destId="{84A34CB4-3822-46A5-A5EC-A37B26CE3D35}" srcOrd="1" destOrd="0" presId="urn:microsoft.com/office/officeart/2018/2/layout/IconVerticalSolidList"/>
    <dgm:cxn modelId="{6CF51F5B-22DD-4C73-B51B-7E060CBD73A8}" type="presParOf" srcId="{613F9092-8AE6-4CEB-92AC-0D3CAB879C13}" destId="{03C4BE4F-893A-4A87-B927-BC70844407C5}" srcOrd="2" destOrd="0" presId="urn:microsoft.com/office/officeart/2018/2/layout/IconVerticalSolidList"/>
    <dgm:cxn modelId="{215F405A-8F15-4E2B-849F-80FE65B643EC}" type="presParOf" srcId="{613F9092-8AE6-4CEB-92AC-0D3CAB879C13}" destId="{FD5D82F4-04D7-4659-9978-D66ADDFE3A73}" srcOrd="3" destOrd="0" presId="urn:microsoft.com/office/officeart/2018/2/layout/IconVerticalSolidList"/>
    <dgm:cxn modelId="{64C37838-BC31-4359-8174-E383E30FBCB0}" type="presParOf" srcId="{62AEFE09-76C2-451A-B97D-7DDE51BBDBEB}" destId="{AF02E066-21E1-487F-96D0-966A0B5F1AB5}" srcOrd="1" destOrd="0" presId="urn:microsoft.com/office/officeart/2018/2/layout/IconVerticalSolidList"/>
    <dgm:cxn modelId="{6641DC8E-4122-4177-B5B4-3E8E3B97D821}" type="presParOf" srcId="{62AEFE09-76C2-451A-B97D-7DDE51BBDBEB}" destId="{0D87F571-3859-45D0-A1B3-1C3527DD5D4A}" srcOrd="2" destOrd="0" presId="urn:microsoft.com/office/officeart/2018/2/layout/IconVerticalSolidList"/>
    <dgm:cxn modelId="{5647CB2C-8561-4286-9C82-AF51A37D5207}" type="presParOf" srcId="{0D87F571-3859-45D0-A1B3-1C3527DD5D4A}" destId="{E771B4FA-0948-4E8D-A42B-EB5C02156C80}" srcOrd="0" destOrd="0" presId="urn:microsoft.com/office/officeart/2018/2/layout/IconVerticalSolidList"/>
    <dgm:cxn modelId="{8AFC74F1-1E8C-4A8D-BEE9-18F6D19E006A}" type="presParOf" srcId="{0D87F571-3859-45D0-A1B3-1C3527DD5D4A}" destId="{5C73CCA9-1ED1-4ABE-90D5-4CA85ABC1607}" srcOrd="1" destOrd="0" presId="urn:microsoft.com/office/officeart/2018/2/layout/IconVerticalSolidList"/>
    <dgm:cxn modelId="{72F396C8-08F5-447A-ADD6-8E277707C353}" type="presParOf" srcId="{0D87F571-3859-45D0-A1B3-1C3527DD5D4A}" destId="{2449EEB8-47B8-450F-AC89-AE08EB5DA4BF}" srcOrd="2" destOrd="0" presId="urn:microsoft.com/office/officeart/2018/2/layout/IconVerticalSolidList"/>
    <dgm:cxn modelId="{7DD54011-B389-4466-979A-191FB9DD5303}" type="presParOf" srcId="{0D87F571-3859-45D0-A1B3-1C3527DD5D4A}" destId="{0BA9A6BC-1198-4804-A4DC-CF56611BF971}" srcOrd="3" destOrd="0" presId="urn:microsoft.com/office/officeart/2018/2/layout/IconVerticalSolidList"/>
    <dgm:cxn modelId="{A67DD846-378A-4AF5-B9DD-0668C849FDC6}" type="presParOf" srcId="{62AEFE09-76C2-451A-B97D-7DDE51BBDBEB}" destId="{50A656AB-7F1D-48AF-83C7-43863CAB318A}" srcOrd="3" destOrd="0" presId="urn:microsoft.com/office/officeart/2018/2/layout/IconVerticalSolidList"/>
    <dgm:cxn modelId="{623E1D43-8398-4D98-AFD5-043ACAB535D2}" type="presParOf" srcId="{62AEFE09-76C2-451A-B97D-7DDE51BBDBEB}" destId="{B4F87924-4365-4771-8843-C1D9DFECB6F7}" srcOrd="4" destOrd="0" presId="urn:microsoft.com/office/officeart/2018/2/layout/IconVerticalSolidList"/>
    <dgm:cxn modelId="{D151DAA7-52CB-4554-BBFE-2B1D53C8BB78}" type="presParOf" srcId="{B4F87924-4365-4771-8843-C1D9DFECB6F7}" destId="{F62B6177-7AF6-45AA-90FA-1C310B82B06B}" srcOrd="0" destOrd="0" presId="urn:microsoft.com/office/officeart/2018/2/layout/IconVerticalSolidList"/>
    <dgm:cxn modelId="{F21632FD-74C1-437C-AF0A-28FEB3CCB64B}" type="presParOf" srcId="{B4F87924-4365-4771-8843-C1D9DFECB6F7}" destId="{C8862DD0-95CF-4B31-A6C0-EE02BEE6CB78}" srcOrd="1" destOrd="0" presId="urn:microsoft.com/office/officeart/2018/2/layout/IconVerticalSolidList"/>
    <dgm:cxn modelId="{5D7A4169-F61C-444A-BAE2-B103579CFBBE}" type="presParOf" srcId="{B4F87924-4365-4771-8843-C1D9DFECB6F7}" destId="{9A7E03C4-F7AD-4E69-B3B8-D392620B1161}" srcOrd="2" destOrd="0" presId="urn:microsoft.com/office/officeart/2018/2/layout/IconVerticalSolidList"/>
    <dgm:cxn modelId="{ADC19E89-E96C-4A61-93F8-9CD083FB7118}" type="presParOf" srcId="{B4F87924-4365-4771-8843-C1D9DFECB6F7}" destId="{023631A1-92B3-4E57-A8D6-D7B5981DCB0F}"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028283B-AE12-44A1-848E-AC1E0A949057}"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291EEE4F-1390-4EF4-9815-04BCBDF9D2E2}">
      <dgm:prSet/>
      <dgm:spPr/>
      <dgm:t>
        <a:bodyPr/>
        <a:lstStyle/>
        <a:p>
          <a:r>
            <a:rPr lang="en-US" dirty="0">
              <a:latin typeface="Segoe UI"/>
              <a:cs typeface="Segoe UI"/>
            </a:rPr>
            <a:t>OSHE/EOF will provide EOF campus programs with the opportunity to submit a special project application that will allow them to receive a 1-time allocation of additional resources to help enhance their student support efforts on campus. </a:t>
          </a:r>
          <a:endParaRPr lang="en-US" dirty="0"/>
        </a:p>
      </dgm:t>
    </dgm:pt>
    <dgm:pt modelId="{38B1894A-F784-4794-958E-AB0B466DB970}" type="parTrans" cxnId="{E86C7C18-F107-4A5B-BD19-81FA49C13768}">
      <dgm:prSet/>
      <dgm:spPr/>
      <dgm:t>
        <a:bodyPr/>
        <a:lstStyle/>
        <a:p>
          <a:endParaRPr lang="en-US"/>
        </a:p>
      </dgm:t>
    </dgm:pt>
    <dgm:pt modelId="{C7AA3D28-E91B-44C0-9AF8-8760BF418C17}" type="sibTrans" cxnId="{E86C7C18-F107-4A5B-BD19-81FA49C13768}">
      <dgm:prSet/>
      <dgm:spPr/>
      <dgm:t>
        <a:bodyPr/>
        <a:lstStyle/>
        <a:p>
          <a:endParaRPr lang="en-US"/>
        </a:p>
      </dgm:t>
    </dgm:pt>
    <dgm:pt modelId="{38B42B12-4E48-4BF5-9444-F779DB975752}">
      <dgm:prSet/>
      <dgm:spPr/>
      <dgm:t>
        <a:bodyPr/>
        <a:lstStyle/>
        <a:p>
          <a:r>
            <a:rPr lang="en-US"/>
            <a:t>This special opportunity would allow for programs to offer creative programming or enhanced support of their students as institutions continue to transition back to in-person operations.</a:t>
          </a:r>
        </a:p>
      </dgm:t>
    </dgm:pt>
    <dgm:pt modelId="{F3D8411A-F665-4DB7-A315-14FE986FD613}" type="parTrans" cxnId="{57BEC137-DD96-441F-8F34-A5F57179D8E5}">
      <dgm:prSet/>
      <dgm:spPr/>
      <dgm:t>
        <a:bodyPr/>
        <a:lstStyle/>
        <a:p>
          <a:endParaRPr lang="en-US"/>
        </a:p>
      </dgm:t>
    </dgm:pt>
    <dgm:pt modelId="{11285399-9CDF-476E-A381-0314864695EF}" type="sibTrans" cxnId="{57BEC137-DD96-441F-8F34-A5F57179D8E5}">
      <dgm:prSet/>
      <dgm:spPr/>
      <dgm:t>
        <a:bodyPr/>
        <a:lstStyle/>
        <a:p>
          <a:endParaRPr lang="en-US"/>
        </a:p>
      </dgm:t>
    </dgm:pt>
    <dgm:pt modelId="{F4E1AB80-0718-4730-B6CA-90352268FBD9}">
      <dgm:prSet phldr="0"/>
      <dgm:spPr/>
      <dgm:t>
        <a:bodyPr/>
        <a:lstStyle/>
        <a:p>
          <a:r>
            <a:rPr lang="en-US" b="1">
              <a:latin typeface="Calibri Light"/>
            </a:rPr>
            <a:t>EOF</a:t>
          </a:r>
          <a:r>
            <a:rPr lang="en-US" b="1"/>
            <a:t> Special Projects – </a:t>
          </a:r>
          <a:r>
            <a:rPr lang="en-US" b="1">
              <a:latin typeface="Calibri Light"/>
            </a:rPr>
            <a:t>2,000,000</a:t>
          </a:r>
        </a:p>
      </dgm:t>
    </dgm:pt>
    <dgm:pt modelId="{8505ADE6-31F1-4344-AB53-D5ED5B3E1B4A}" type="parTrans" cxnId="{D92B99D6-6663-4013-A8CA-F9439DD8BE41}">
      <dgm:prSet/>
      <dgm:spPr/>
    </dgm:pt>
    <dgm:pt modelId="{E5809F4F-34FB-4F3E-AA36-0D5D55B2BDDC}" type="sibTrans" cxnId="{D92B99D6-6663-4013-A8CA-F9439DD8BE41}">
      <dgm:prSet/>
      <dgm:spPr/>
      <dgm:t>
        <a:bodyPr/>
        <a:lstStyle/>
        <a:p>
          <a:endParaRPr lang="en-US"/>
        </a:p>
      </dgm:t>
    </dgm:pt>
    <dgm:pt modelId="{8EFD4820-2322-4025-BA2A-DC94DEAC4C29}">
      <dgm:prSet phldr="0"/>
      <dgm:spPr/>
      <dgm:t>
        <a:bodyPr/>
        <a:lstStyle/>
        <a:p>
          <a:r>
            <a:rPr lang="en-US" dirty="0">
              <a:latin typeface="Calibri"/>
              <a:cs typeface="Calibri"/>
            </a:rPr>
            <a:t>Programs may apply for more than one project. However, a separate application must be submitted for each special project.</a:t>
          </a:r>
          <a:endParaRPr lang="en-US" dirty="0">
            <a:latin typeface="Calibri Light"/>
          </a:endParaRPr>
        </a:p>
      </dgm:t>
    </dgm:pt>
    <dgm:pt modelId="{C9D62C48-C55D-41DA-BECA-8FCC0AE56045}" type="parTrans" cxnId="{5A74587A-A2C2-4F59-921F-91F2399B0503}">
      <dgm:prSet/>
      <dgm:spPr/>
    </dgm:pt>
    <dgm:pt modelId="{1B8CC0AF-8970-4CB0-BCE5-D20A211D8CCF}" type="sibTrans" cxnId="{5A74587A-A2C2-4F59-921F-91F2399B0503}">
      <dgm:prSet/>
      <dgm:spPr/>
      <dgm:t>
        <a:bodyPr/>
        <a:lstStyle/>
        <a:p>
          <a:endParaRPr lang="en-US"/>
        </a:p>
      </dgm:t>
    </dgm:pt>
    <dgm:pt modelId="{8B4C26D3-EF11-4739-9332-DE47B90DD0D3}" type="pres">
      <dgm:prSet presAssocID="{3028283B-AE12-44A1-848E-AC1E0A949057}" presName="linear" presStyleCnt="0">
        <dgm:presLayoutVars>
          <dgm:animLvl val="lvl"/>
          <dgm:resizeHandles val="exact"/>
        </dgm:presLayoutVars>
      </dgm:prSet>
      <dgm:spPr/>
    </dgm:pt>
    <dgm:pt modelId="{374F8EAB-A992-40C0-972C-94756E34D072}" type="pres">
      <dgm:prSet presAssocID="{F4E1AB80-0718-4730-B6CA-90352268FBD9}" presName="parentText" presStyleLbl="node1" presStyleIdx="0" presStyleCnt="4">
        <dgm:presLayoutVars>
          <dgm:chMax val="0"/>
          <dgm:bulletEnabled val="1"/>
        </dgm:presLayoutVars>
      </dgm:prSet>
      <dgm:spPr/>
    </dgm:pt>
    <dgm:pt modelId="{AB1C09E9-2F48-4EE5-A88F-6BF172214D1B}" type="pres">
      <dgm:prSet presAssocID="{E5809F4F-34FB-4F3E-AA36-0D5D55B2BDDC}" presName="spacer" presStyleCnt="0"/>
      <dgm:spPr/>
    </dgm:pt>
    <dgm:pt modelId="{CB746497-B025-4682-9AA4-55985FF415CE}" type="pres">
      <dgm:prSet presAssocID="{291EEE4F-1390-4EF4-9815-04BCBDF9D2E2}" presName="parentText" presStyleLbl="node1" presStyleIdx="1" presStyleCnt="4">
        <dgm:presLayoutVars>
          <dgm:chMax val="0"/>
          <dgm:bulletEnabled val="1"/>
        </dgm:presLayoutVars>
      </dgm:prSet>
      <dgm:spPr/>
    </dgm:pt>
    <dgm:pt modelId="{5A31BBD7-1E50-4C73-A5BC-E05274599829}" type="pres">
      <dgm:prSet presAssocID="{C7AA3D28-E91B-44C0-9AF8-8760BF418C17}" presName="spacer" presStyleCnt="0"/>
      <dgm:spPr/>
    </dgm:pt>
    <dgm:pt modelId="{9E4DA0A3-B106-420F-9BD5-EE3F47965692}" type="pres">
      <dgm:prSet presAssocID="{38B42B12-4E48-4BF5-9444-F779DB975752}" presName="parentText" presStyleLbl="node1" presStyleIdx="2" presStyleCnt="4">
        <dgm:presLayoutVars>
          <dgm:chMax val="0"/>
          <dgm:bulletEnabled val="1"/>
        </dgm:presLayoutVars>
      </dgm:prSet>
      <dgm:spPr/>
    </dgm:pt>
    <dgm:pt modelId="{B9003A9E-44E2-4C97-85DE-BC55C4561990}" type="pres">
      <dgm:prSet presAssocID="{11285399-9CDF-476E-A381-0314864695EF}" presName="spacer" presStyleCnt="0"/>
      <dgm:spPr/>
    </dgm:pt>
    <dgm:pt modelId="{699778A1-5F80-4E4E-B15A-BF9F7FA80933}" type="pres">
      <dgm:prSet presAssocID="{8EFD4820-2322-4025-BA2A-DC94DEAC4C29}" presName="parentText" presStyleLbl="node1" presStyleIdx="3" presStyleCnt="4">
        <dgm:presLayoutVars>
          <dgm:chMax val="0"/>
          <dgm:bulletEnabled val="1"/>
        </dgm:presLayoutVars>
      </dgm:prSet>
      <dgm:spPr/>
    </dgm:pt>
  </dgm:ptLst>
  <dgm:cxnLst>
    <dgm:cxn modelId="{E86C7C18-F107-4A5B-BD19-81FA49C13768}" srcId="{3028283B-AE12-44A1-848E-AC1E0A949057}" destId="{291EEE4F-1390-4EF4-9815-04BCBDF9D2E2}" srcOrd="1" destOrd="0" parTransId="{38B1894A-F784-4794-958E-AB0B466DB970}" sibTransId="{C7AA3D28-E91B-44C0-9AF8-8760BF418C17}"/>
    <dgm:cxn modelId="{57BEC137-DD96-441F-8F34-A5F57179D8E5}" srcId="{3028283B-AE12-44A1-848E-AC1E0A949057}" destId="{38B42B12-4E48-4BF5-9444-F779DB975752}" srcOrd="2" destOrd="0" parTransId="{F3D8411A-F665-4DB7-A315-14FE986FD613}" sibTransId="{11285399-9CDF-476E-A381-0314864695EF}"/>
    <dgm:cxn modelId="{5A74587A-A2C2-4F59-921F-91F2399B0503}" srcId="{3028283B-AE12-44A1-848E-AC1E0A949057}" destId="{8EFD4820-2322-4025-BA2A-DC94DEAC4C29}" srcOrd="3" destOrd="0" parTransId="{C9D62C48-C55D-41DA-BECA-8FCC0AE56045}" sibTransId="{1B8CC0AF-8970-4CB0-BCE5-D20A211D8CCF}"/>
    <dgm:cxn modelId="{2EBD0D7E-9FA5-4049-BD5B-04A736FF9706}" type="presOf" srcId="{291EEE4F-1390-4EF4-9815-04BCBDF9D2E2}" destId="{CB746497-B025-4682-9AA4-55985FF415CE}" srcOrd="0" destOrd="0" presId="urn:microsoft.com/office/officeart/2005/8/layout/vList2"/>
    <dgm:cxn modelId="{A563C17F-6CFB-4DB8-BFDE-16C76503FC01}" type="presOf" srcId="{3028283B-AE12-44A1-848E-AC1E0A949057}" destId="{8B4C26D3-EF11-4739-9332-DE47B90DD0D3}" srcOrd="0" destOrd="0" presId="urn:microsoft.com/office/officeart/2005/8/layout/vList2"/>
    <dgm:cxn modelId="{EF086791-E9FB-4D97-B45A-E9CBB9DFC2EC}" type="presOf" srcId="{8EFD4820-2322-4025-BA2A-DC94DEAC4C29}" destId="{699778A1-5F80-4E4E-B15A-BF9F7FA80933}" srcOrd="0" destOrd="0" presId="urn:microsoft.com/office/officeart/2005/8/layout/vList2"/>
    <dgm:cxn modelId="{EF0DA3BC-36F7-4ACF-B451-867018025DA1}" type="presOf" srcId="{38B42B12-4E48-4BF5-9444-F779DB975752}" destId="{9E4DA0A3-B106-420F-9BD5-EE3F47965692}" srcOrd="0" destOrd="0" presId="urn:microsoft.com/office/officeart/2005/8/layout/vList2"/>
    <dgm:cxn modelId="{D92B99D6-6663-4013-A8CA-F9439DD8BE41}" srcId="{3028283B-AE12-44A1-848E-AC1E0A949057}" destId="{F4E1AB80-0718-4730-B6CA-90352268FBD9}" srcOrd="0" destOrd="0" parTransId="{8505ADE6-31F1-4344-AB53-D5ED5B3E1B4A}" sibTransId="{E5809F4F-34FB-4F3E-AA36-0D5D55B2BDDC}"/>
    <dgm:cxn modelId="{51361EEB-2421-4010-94DB-1850F9B4486E}" type="presOf" srcId="{F4E1AB80-0718-4730-B6CA-90352268FBD9}" destId="{374F8EAB-A992-40C0-972C-94756E34D072}" srcOrd="0" destOrd="0" presId="urn:microsoft.com/office/officeart/2005/8/layout/vList2"/>
    <dgm:cxn modelId="{7A59367D-90DE-4C45-9268-BF3B2E7A733F}" type="presParOf" srcId="{8B4C26D3-EF11-4739-9332-DE47B90DD0D3}" destId="{374F8EAB-A992-40C0-972C-94756E34D072}" srcOrd="0" destOrd="0" presId="urn:microsoft.com/office/officeart/2005/8/layout/vList2"/>
    <dgm:cxn modelId="{4C455A3F-6A95-4DAE-A4D8-C71A7C13590E}" type="presParOf" srcId="{8B4C26D3-EF11-4739-9332-DE47B90DD0D3}" destId="{AB1C09E9-2F48-4EE5-A88F-6BF172214D1B}" srcOrd="1" destOrd="0" presId="urn:microsoft.com/office/officeart/2005/8/layout/vList2"/>
    <dgm:cxn modelId="{4BC19593-42D5-4EB5-AC5A-236BA3C437D1}" type="presParOf" srcId="{8B4C26D3-EF11-4739-9332-DE47B90DD0D3}" destId="{CB746497-B025-4682-9AA4-55985FF415CE}" srcOrd="2" destOrd="0" presId="urn:microsoft.com/office/officeart/2005/8/layout/vList2"/>
    <dgm:cxn modelId="{919599BE-4E97-449D-AA5B-B51DACEF0543}" type="presParOf" srcId="{8B4C26D3-EF11-4739-9332-DE47B90DD0D3}" destId="{5A31BBD7-1E50-4C73-A5BC-E05274599829}" srcOrd="3" destOrd="0" presId="urn:microsoft.com/office/officeart/2005/8/layout/vList2"/>
    <dgm:cxn modelId="{275998C7-B711-49F6-8471-4761FDA1CF33}" type="presParOf" srcId="{8B4C26D3-EF11-4739-9332-DE47B90DD0D3}" destId="{9E4DA0A3-B106-420F-9BD5-EE3F47965692}" srcOrd="4" destOrd="0" presId="urn:microsoft.com/office/officeart/2005/8/layout/vList2"/>
    <dgm:cxn modelId="{63D892E1-0779-4C8F-81B2-BBA686E8C5F0}" type="presParOf" srcId="{8B4C26D3-EF11-4739-9332-DE47B90DD0D3}" destId="{B9003A9E-44E2-4C97-85DE-BC55C4561990}" srcOrd="5" destOrd="0" presId="urn:microsoft.com/office/officeart/2005/8/layout/vList2"/>
    <dgm:cxn modelId="{44542A03-78A1-42B8-AD24-5ED596D87169}" type="presParOf" srcId="{8B4C26D3-EF11-4739-9332-DE47B90DD0D3}" destId="{699778A1-5F80-4E4E-B15A-BF9F7FA80933}" srcOrd="6"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51EADA5-BD02-4BD3-AE11-DB29AD15984A}" type="doc">
      <dgm:prSet loTypeId="urn:microsoft.com/office/officeart/2016/7/layout/RepeatingBendingProcessNew" loCatId="process" qsTypeId="urn:microsoft.com/office/officeart/2005/8/quickstyle/simple1" qsCatId="simple" csTypeId="urn:microsoft.com/office/officeart/2005/8/colors/colorful5" csCatId="colorful" phldr="1"/>
      <dgm:spPr/>
      <dgm:t>
        <a:bodyPr/>
        <a:lstStyle/>
        <a:p>
          <a:endParaRPr lang="en-US"/>
        </a:p>
      </dgm:t>
    </dgm:pt>
    <dgm:pt modelId="{85821E97-3150-427E-B8EA-FC4DC2C3AC7F}">
      <dgm:prSet/>
      <dgm:spPr/>
      <dgm:t>
        <a:bodyPr/>
        <a:lstStyle/>
        <a:p>
          <a:r>
            <a:rPr lang="en-US"/>
            <a:t>All proposals must include a coversheet and should be emailed to </a:t>
          </a:r>
          <a:r>
            <a:rPr lang="en-US" u="sng">
              <a:hlinkClick xmlns:r="http://schemas.openxmlformats.org/officeDocument/2006/relationships" r:id="rId1"/>
            </a:rPr>
            <a:t>EOF@oshe.nj.gov</a:t>
          </a:r>
          <a:r>
            <a:rPr lang="en-US"/>
            <a:t> with a copy to your liaison.</a:t>
          </a:r>
        </a:p>
      </dgm:t>
    </dgm:pt>
    <dgm:pt modelId="{C8860DFB-E76A-489D-858F-50F05C85C6C7}" type="parTrans" cxnId="{7E264025-62D3-44CF-8161-A3172EB85E7A}">
      <dgm:prSet/>
      <dgm:spPr/>
      <dgm:t>
        <a:bodyPr/>
        <a:lstStyle/>
        <a:p>
          <a:endParaRPr lang="en-US"/>
        </a:p>
      </dgm:t>
    </dgm:pt>
    <dgm:pt modelId="{5681F82C-30EC-4C4B-89CC-96BE5F1C5DCD}" type="sibTrans" cxnId="{7E264025-62D3-44CF-8161-A3172EB85E7A}">
      <dgm:prSet/>
      <dgm:spPr/>
      <dgm:t>
        <a:bodyPr/>
        <a:lstStyle/>
        <a:p>
          <a:endParaRPr lang="en-US"/>
        </a:p>
      </dgm:t>
    </dgm:pt>
    <dgm:pt modelId="{56627C33-BAAC-4651-9E57-651FB7632C52}">
      <dgm:prSet/>
      <dgm:spPr/>
      <dgm:t>
        <a:bodyPr/>
        <a:lstStyle/>
        <a:p>
          <a:r>
            <a:rPr lang="en-US"/>
            <a:t>Narrative Description of Project (No more than 3 pages).</a:t>
          </a:r>
        </a:p>
      </dgm:t>
    </dgm:pt>
    <dgm:pt modelId="{EC051B3C-98EF-4570-A4F4-0B5BB2209218}" type="parTrans" cxnId="{7ADF1057-8F37-4959-B405-3C11DB9FA944}">
      <dgm:prSet/>
      <dgm:spPr/>
      <dgm:t>
        <a:bodyPr/>
        <a:lstStyle/>
        <a:p>
          <a:endParaRPr lang="en-US"/>
        </a:p>
      </dgm:t>
    </dgm:pt>
    <dgm:pt modelId="{891944A0-5B8A-469F-BB27-B93F4EAE76B7}" type="sibTrans" cxnId="{7ADF1057-8F37-4959-B405-3C11DB9FA944}">
      <dgm:prSet/>
      <dgm:spPr/>
      <dgm:t>
        <a:bodyPr/>
        <a:lstStyle/>
        <a:p>
          <a:endParaRPr lang="en-US"/>
        </a:p>
      </dgm:t>
    </dgm:pt>
    <dgm:pt modelId="{B4B1E63C-B1B7-4E11-B02C-F95AA80BE7BA}">
      <dgm:prSet/>
      <dgm:spPr/>
      <dgm:t>
        <a:bodyPr/>
        <a:lstStyle/>
        <a:p>
          <a:r>
            <a:rPr lang="en-US"/>
            <a:t>Describe the proposed special project that you are planning.  </a:t>
          </a:r>
        </a:p>
      </dgm:t>
    </dgm:pt>
    <dgm:pt modelId="{A8B835F6-E005-4704-A230-6755950395DA}" type="parTrans" cxnId="{3E3024BE-C1DB-47E4-853F-0143B172CA7A}">
      <dgm:prSet/>
      <dgm:spPr/>
      <dgm:t>
        <a:bodyPr/>
        <a:lstStyle/>
        <a:p>
          <a:endParaRPr lang="en-US"/>
        </a:p>
      </dgm:t>
    </dgm:pt>
    <dgm:pt modelId="{669D30DC-5036-49B8-8AA0-016C7656F5D5}" type="sibTrans" cxnId="{3E3024BE-C1DB-47E4-853F-0143B172CA7A}">
      <dgm:prSet/>
      <dgm:spPr/>
      <dgm:t>
        <a:bodyPr/>
        <a:lstStyle/>
        <a:p>
          <a:endParaRPr lang="en-US"/>
        </a:p>
      </dgm:t>
    </dgm:pt>
    <dgm:pt modelId="{AD87BD18-7ACD-4B7F-97EE-619EEF364526}">
      <dgm:prSet/>
      <dgm:spPr/>
      <dgm:t>
        <a:bodyPr/>
        <a:lstStyle/>
        <a:p>
          <a:r>
            <a:rPr lang="en-US"/>
            <a:t>Include the following information in your description:</a:t>
          </a:r>
        </a:p>
      </dgm:t>
    </dgm:pt>
    <dgm:pt modelId="{45D4AC11-7C17-47FA-A57D-826374E766CD}" type="parTrans" cxnId="{7493D9F2-B509-4E4C-B0E7-0012AFB8C16C}">
      <dgm:prSet/>
      <dgm:spPr/>
      <dgm:t>
        <a:bodyPr/>
        <a:lstStyle/>
        <a:p>
          <a:endParaRPr lang="en-US"/>
        </a:p>
      </dgm:t>
    </dgm:pt>
    <dgm:pt modelId="{74CE30A5-2E03-4903-8DAE-BD26AE23B296}" type="sibTrans" cxnId="{7493D9F2-B509-4E4C-B0E7-0012AFB8C16C}">
      <dgm:prSet/>
      <dgm:spPr/>
      <dgm:t>
        <a:bodyPr/>
        <a:lstStyle/>
        <a:p>
          <a:endParaRPr lang="en-US"/>
        </a:p>
      </dgm:t>
    </dgm:pt>
    <dgm:pt modelId="{9AEFDE5C-93D0-4FEE-ADB6-D8B34EE4CC77}">
      <dgm:prSet/>
      <dgm:spPr/>
      <dgm:t>
        <a:bodyPr/>
        <a:lstStyle/>
        <a:p>
          <a:r>
            <a:rPr lang="en-US"/>
            <a:t>Target audience</a:t>
          </a:r>
        </a:p>
      </dgm:t>
    </dgm:pt>
    <dgm:pt modelId="{463F6413-2A09-45ED-9882-5D0E3378C846}" type="parTrans" cxnId="{CDF985FB-ED5A-4ABC-8C12-7596E2C028E8}">
      <dgm:prSet/>
      <dgm:spPr/>
      <dgm:t>
        <a:bodyPr/>
        <a:lstStyle/>
        <a:p>
          <a:endParaRPr lang="en-US"/>
        </a:p>
      </dgm:t>
    </dgm:pt>
    <dgm:pt modelId="{EA921047-F0E8-4A83-8919-62113538C7EB}" type="sibTrans" cxnId="{CDF985FB-ED5A-4ABC-8C12-7596E2C028E8}">
      <dgm:prSet/>
      <dgm:spPr/>
      <dgm:t>
        <a:bodyPr/>
        <a:lstStyle/>
        <a:p>
          <a:endParaRPr lang="en-US"/>
        </a:p>
      </dgm:t>
    </dgm:pt>
    <dgm:pt modelId="{4197725A-A740-4DA0-B9E2-554FEECADAB5}">
      <dgm:prSet/>
      <dgm:spPr/>
      <dgm:t>
        <a:bodyPr/>
        <a:lstStyle/>
        <a:p>
          <a:r>
            <a:rPr lang="en-US"/>
            <a:t>Project goal and objectives </a:t>
          </a:r>
        </a:p>
      </dgm:t>
    </dgm:pt>
    <dgm:pt modelId="{C4689952-0540-4042-9CF8-4C43696EF1CC}" type="parTrans" cxnId="{0898D382-B663-48D4-93B4-1A871EC5D5F1}">
      <dgm:prSet/>
      <dgm:spPr/>
      <dgm:t>
        <a:bodyPr/>
        <a:lstStyle/>
        <a:p>
          <a:endParaRPr lang="en-US"/>
        </a:p>
      </dgm:t>
    </dgm:pt>
    <dgm:pt modelId="{6BE76FD3-700D-47D4-83D4-0EC4776BD3BE}" type="sibTrans" cxnId="{0898D382-B663-48D4-93B4-1A871EC5D5F1}">
      <dgm:prSet/>
      <dgm:spPr/>
      <dgm:t>
        <a:bodyPr/>
        <a:lstStyle/>
        <a:p>
          <a:endParaRPr lang="en-US"/>
        </a:p>
      </dgm:t>
    </dgm:pt>
    <dgm:pt modelId="{314CD1D8-80F0-4AB3-AD57-3C1300738B95}">
      <dgm:prSet/>
      <dgm:spPr/>
      <dgm:t>
        <a:bodyPr/>
        <a:lstStyle/>
        <a:p>
          <a:r>
            <a:rPr lang="en-US" dirty="0"/>
            <a:t>Intended impact of your proposal</a:t>
          </a:r>
        </a:p>
      </dgm:t>
    </dgm:pt>
    <dgm:pt modelId="{28A38DF9-DFA1-4CE6-9F42-DAF6260756CD}" type="parTrans" cxnId="{AD9C1AC0-3CC6-4691-A903-84E8A35B78A7}">
      <dgm:prSet/>
      <dgm:spPr/>
      <dgm:t>
        <a:bodyPr/>
        <a:lstStyle/>
        <a:p>
          <a:endParaRPr lang="en-US"/>
        </a:p>
      </dgm:t>
    </dgm:pt>
    <dgm:pt modelId="{0B863179-0A5A-41B7-B617-C6A23DA0A56D}" type="sibTrans" cxnId="{AD9C1AC0-3CC6-4691-A903-84E8A35B78A7}">
      <dgm:prSet/>
      <dgm:spPr/>
      <dgm:t>
        <a:bodyPr/>
        <a:lstStyle/>
        <a:p>
          <a:endParaRPr lang="en-US"/>
        </a:p>
      </dgm:t>
    </dgm:pt>
    <dgm:pt modelId="{5CA17065-EF15-403C-BFF3-414320364696}">
      <dgm:prSet/>
      <dgm:spPr/>
      <dgm:t>
        <a:bodyPr/>
        <a:lstStyle/>
        <a:p>
          <a:r>
            <a:rPr lang="en-US" dirty="0"/>
            <a:t>Cost Breakdown </a:t>
          </a:r>
        </a:p>
      </dgm:t>
    </dgm:pt>
    <dgm:pt modelId="{19DCD2D9-BE4A-4964-A629-68B18DD30ED4}" type="parTrans" cxnId="{98CA98D0-4007-4E6B-83BD-A8C29E3D311C}">
      <dgm:prSet/>
      <dgm:spPr/>
      <dgm:t>
        <a:bodyPr/>
        <a:lstStyle/>
        <a:p>
          <a:endParaRPr lang="en-US"/>
        </a:p>
      </dgm:t>
    </dgm:pt>
    <dgm:pt modelId="{BE9354AE-E23D-4503-9961-FA35733786ED}" type="sibTrans" cxnId="{98CA98D0-4007-4E6B-83BD-A8C29E3D311C}">
      <dgm:prSet/>
      <dgm:spPr/>
      <dgm:t>
        <a:bodyPr/>
        <a:lstStyle/>
        <a:p>
          <a:endParaRPr lang="en-US"/>
        </a:p>
      </dgm:t>
    </dgm:pt>
    <dgm:pt modelId="{43E1DA78-2178-4A76-9308-5FB8CA122C6A}">
      <dgm:prSet/>
      <dgm:spPr/>
      <dgm:t>
        <a:bodyPr/>
        <a:lstStyle/>
        <a:p>
          <a:r>
            <a:rPr lang="en-US"/>
            <a:t>Assessment measurements </a:t>
          </a:r>
          <a:endParaRPr lang="en-US" dirty="0"/>
        </a:p>
      </dgm:t>
    </dgm:pt>
    <dgm:pt modelId="{6EC7E46B-63B6-4EB9-B8DB-ABAD7BCE63DC}" type="parTrans" cxnId="{EECD2124-01A8-4819-9054-4C50E39B7DDD}">
      <dgm:prSet/>
      <dgm:spPr/>
      <dgm:t>
        <a:bodyPr/>
        <a:lstStyle/>
        <a:p>
          <a:endParaRPr lang="en-US"/>
        </a:p>
      </dgm:t>
    </dgm:pt>
    <dgm:pt modelId="{59FCB9A0-8561-4715-8C80-771D342F70E4}" type="sibTrans" cxnId="{EECD2124-01A8-4819-9054-4C50E39B7DDD}">
      <dgm:prSet/>
      <dgm:spPr/>
      <dgm:t>
        <a:bodyPr/>
        <a:lstStyle/>
        <a:p>
          <a:endParaRPr lang="en-US"/>
        </a:p>
      </dgm:t>
    </dgm:pt>
    <dgm:pt modelId="{54B7FE93-1E18-42BD-8D96-6BF3F70896E0}" type="pres">
      <dgm:prSet presAssocID="{B51EADA5-BD02-4BD3-AE11-DB29AD15984A}" presName="Name0" presStyleCnt="0">
        <dgm:presLayoutVars>
          <dgm:dir/>
          <dgm:resizeHandles val="exact"/>
        </dgm:presLayoutVars>
      </dgm:prSet>
      <dgm:spPr/>
    </dgm:pt>
    <dgm:pt modelId="{8EF66F71-4033-4751-99D8-72EBA877096C}" type="pres">
      <dgm:prSet presAssocID="{85821E97-3150-427E-B8EA-FC4DC2C3AC7F}" presName="node" presStyleLbl="node1" presStyleIdx="0" presStyleCnt="9">
        <dgm:presLayoutVars>
          <dgm:bulletEnabled val="1"/>
        </dgm:presLayoutVars>
      </dgm:prSet>
      <dgm:spPr/>
    </dgm:pt>
    <dgm:pt modelId="{4FB38B14-8B6C-4222-AABC-96EF23FCCBB9}" type="pres">
      <dgm:prSet presAssocID="{5681F82C-30EC-4C4B-89CC-96BE5F1C5DCD}" presName="sibTrans" presStyleLbl="sibTrans1D1" presStyleIdx="0" presStyleCnt="8"/>
      <dgm:spPr/>
    </dgm:pt>
    <dgm:pt modelId="{8C64D76A-35A4-47E4-827C-EC705D3F44AD}" type="pres">
      <dgm:prSet presAssocID="{5681F82C-30EC-4C4B-89CC-96BE5F1C5DCD}" presName="connectorText" presStyleLbl="sibTrans1D1" presStyleIdx="0" presStyleCnt="8"/>
      <dgm:spPr/>
    </dgm:pt>
    <dgm:pt modelId="{5E3CCDB1-ABD7-40CB-92FC-BA429CA4761E}" type="pres">
      <dgm:prSet presAssocID="{56627C33-BAAC-4651-9E57-651FB7632C52}" presName="node" presStyleLbl="node1" presStyleIdx="1" presStyleCnt="9">
        <dgm:presLayoutVars>
          <dgm:bulletEnabled val="1"/>
        </dgm:presLayoutVars>
      </dgm:prSet>
      <dgm:spPr/>
    </dgm:pt>
    <dgm:pt modelId="{BFEE59D2-119F-4DC7-B931-89770D07B5EC}" type="pres">
      <dgm:prSet presAssocID="{891944A0-5B8A-469F-BB27-B93F4EAE76B7}" presName="sibTrans" presStyleLbl="sibTrans1D1" presStyleIdx="1" presStyleCnt="8"/>
      <dgm:spPr/>
    </dgm:pt>
    <dgm:pt modelId="{8010AC28-CAA3-4560-A496-656825EE3805}" type="pres">
      <dgm:prSet presAssocID="{891944A0-5B8A-469F-BB27-B93F4EAE76B7}" presName="connectorText" presStyleLbl="sibTrans1D1" presStyleIdx="1" presStyleCnt="8"/>
      <dgm:spPr/>
    </dgm:pt>
    <dgm:pt modelId="{5606A338-DF09-4CE0-A555-20A82138374F}" type="pres">
      <dgm:prSet presAssocID="{B4B1E63C-B1B7-4E11-B02C-F95AA80BE7BA}" presName="node" presStyleLbl="node1" presStyleIdx="2" presStyleCnt="9">
        <dgm:presLayoutVars>
          <dgm:bulletEnabled val="1"/>
        </dgm:presLayoutVars>
      </dgm:prSet>
      <dgm:spPr/>
    </dgm:pt>
    <dgm:pt modelId="{25DE966D-2942-4BB6-87FB-2FD5CCB87000}" type="pres">
      <dgm:prSet presAssocID="{669D30DC-5036-49B8-8AA0-016C7656F5D5}" presName="sibTrans" presStyleLbl="sibTrans1D1" presStyleIdx="2" presStyleCnt="8"/>
      <dgm:spPr/>
    </dgm:pt>
    <dgm:pt modelId="{AE4DCF62-8078-4456-B9E4-8F36665F9AD3}" type="pres">
      <dgm:prSet presAssocID="{669D30DC-5036-49B8-8AA0-016C7656F5D5}" presName="connectorText" presStyleLbl="sibTrans1D1" presStyleIdx="2" presStyleCnt="8"/>
      <dgm:spPr/>
    </dgm:pt>
    <dgm:pt modelId="{F0E25BE5-1F2B-49CA-AD1C-0EE9DDC20070}" type="pres">
      <dgm:prSet presAssocID="{AD87BD18-7ACD-4B7F-97EE-619EEF364526}" presName="node" presStyleLbl="node1" presStyleIdx="3" presStyleCnt="9">
        <dgm:presLayoutVars>
          <dgm:bulletEnabled val="1"/>
        </dgm:presLayoutVars>
      </dgm:prSet>
      <dgm:spPr/>
    </dgm:pt>
    <dgm:pt modelId="{2D2D5768-C323-4437-BF45-E962FEF2A50B}" type="pres">
      <dgm:prSet presAssocID="{74CE30A5-2E03-4903-8DAE-BD26AE23B296}" presName="sibTrans" presStyleLbl="sibTrans1D1" presStyleIdx="3" presStyleCnt="8"/>
      <dgm:spPr/>
    </dgm:pt>
    <dgm:pt modelId="{9C119BE9-8BC0-46EB-8E1E-37E581AC1FA0}" type="pres">
      <dgm:prSet presAssocID="{74CE30A5-2E03-4903-8DAE-BD26AE23B296}" presName="connectorText" presStyleLbl="sibTrans1D1" presStyleIdx="3" presStyleCnt="8"/>
      <dgm:spPr/>
    </dgm:pt>
    <dgm:pt modelId="{EE1C62B0-33B2-408A-B210-C1B3AD8E88EE}" type="pres">
      <dgm:prSet presAssocID="{9AEFDE5C-93D0-4FEE-ADB6-D8B34EE4CC77}" presName="node" presStyleLbl="node1" presStyleIdx="4" presStyleCnt="9">
        <dgm:presLayoutVars>
          <dgm:bulletEnabled val="1"/>
        </dgm:presLayoutVars>
      </dgm:prSet>
      <dgm:spPr/>
    </dgm:pt>
    <dgm:pt modelId="{FDF9F5E2-D433-4A1A-970B-FFFE198016EC}" type="pres">
      <dgm:prSet presAssocID="{EA921047-F0E8-4A83-8919-62113538C7EB}" presName="sibTrans" presStyleLbl="sibTrans1D1" presStyleIdx="4" presStyleCnt="8"/>
      <dgm:spPr/>
    </dgm:pt>
    <dgm:pt modelId="{60F087EE-C195-4D5C-95D5-164CE7F901EC}" type="pres">
      <dgm:prSet presAssocID="{EA921047-F0E8-4A83-8919-62113538C7EB}" presName="connectorText" presStyleLbl="sibTrans1D1" presStyleIdx="4" presStyleCnt="8"/>
      <dgm:spPr/>
    </dgm:pt>
    <dgm:pt modelId="{F64ADF10-7647-4E96-9E21-1D73D76C0277}" type="pres">
      <dgm:prSet presAssocID="{4197725A-A740-4DA0-B9E2-554FEECADAB5}" presName="node" presStyleLbl="node1" presStyleIdx="5" presStyleCnt="9">
        <dgm:presLayoutVars>
          <dgm:bulletEnabled val="1"/>
        </dgm:presLayoutVars>
      </dgm:prSet>
      <dgm:spPr/>
    </dgm:pt>
    <dgm:pt modelId="{25AF159F-5F8B-4716-85A7-485FF496DFAC}" type="pres">
      <dgm:prSet presAssocID="{6BE76FD3-700D-47D4-83D4-0EC4776BD3BE}" presName="sibTrans" presStyleLbl="sibTrans1D1" presStyleIdx="5" presStyleCnt="8"/>
      <dgm:spPr/>
    </dgm:pt>
    <dgm:pt modelId="{5456B4B1-397C-43F8-8A36-656D51D4618D}" type="pres">
      <dgm:prSet presAssocID="{6BE76FD3-700D-47D4-83D4-0EC4776BD3BE}" presName="connectorText" presStyleLbl="sibTrans1D1" presStyleIdx="5" presStyleCnt="8"/>
      <dgm:spPr/>
    </dgm:pt>
    <dgm:pt modelId="{4DEFD38A-6ECD-4A06-A2DF-A80308078185}" type="pres">
      <dgm:prSet presAssocID="{314CD1D8-80F0-4AB3-AD57-3C1300738B95}" presName="node" presStyleLbl="node1" presStyleIdx="6" presStyleCnt="9">
        <dgm:presLayoutVars>
          <dgm:bulletEnabled val="1"/>
        </dgm:presLayoutVars>
      </dgm:prSet>
      <dgm:spPr/>
    </dgm:pt>
    <dgm:pt modelId="{3290A82A-8205-4F9F-A7CC-4FB398273A5E}" type="pres">
      <dgm:prSet presAssocID="{0B863179-0A5A-41B7-B617-C6A23DA0A56D}" presName="sibTrans" presStyleLbl="sibTrans1D1" presStyleIdx="6" presStyleCnt="8"/>
      <dgm:spPr/>
    </dgm:pt>
    <dgm:pt modelId="{CCF23E20-FB16-4480-BDA7-018F8BD30E49}" type="pres">
      <dgm:prSet presAssocID="{0B863179-0A5A-41B7-B617-C6A23DA0A56D}" presName="connectorText" presStyleLbl="sibTrans1D1" presStyleIdx="6" presStyleCnt="8"/>
      <dgm:spPr/>
    </dgm:pt>
    <dgm:pt modelId="{4839B7E5-8712-42E4-A4DE-1DCF1B714526}" type="pres">
      <dgm:prSet presAssocID="{43E1DA78-2178-4A76-9308-5FB8CA122C6A}" presName="node" presStyleLbl="node1" presStyleIdx="7" presStyleCnt="9">
        <dgm:presLayoutVars>
          <dgm:bulletEnabled val="1"/>
        </dgm:presLayoutVars>
      </dgm:prSet>
      <dgm:spPr/>
    </dgm:pt>
    <dgm:pt modelId="{8D690500-F4AC-4D3E-AE75-A0C19A44D7BF}" type="pres">
      <dgm:prSet presAssocID="{59FCB9A0-8561-4715-8C80-771D342F70E4}" presName="sibTrans" presStyleLbl="sibTrans1D1" presStyleIdx="7" presStyleCnt="8"/>
      <dgm:spPr/>
    </dgm:pt>
    <dgm:pt modelId="{EC845E5B-AE6B-47B2-A4B4-236BBAD44EEC}" type="pres">
      <dgm:prSet presAssocID="{59FCB9A0-8561-4715-8C80-771D342F70E4}" presName="connectorText" presStyleLbl="sibTrans1D1" presStyleIdx="7" presStyleCnt="8"/>
      <dgm:spPr/>
    </dgm:pt>
    <dgm:pt modelId="{F49BB304-94AC-4640-9FE0-538B2CC25718}" type="pres">
      <dgm:prSet presAssocID="{5CA17065-EF15-403C-BFF3-414320364696}" presName="node" presStyleLbl="node1" presStyleIdx="8" presStyleCnt="9">
        <dgm:presLayoutVars>
          <dgm:bulletEnabled val="1"/>
        </dgm:presLayoutVars>
      </dgm:prSet>
      <dgm:spPr/>
    </dgm:pt>
  </dgm:ptLst>
  <dgm:cxnLst>
    <dgm:cxn modelId="{AC1AFB05-8D09-4133-B1B9-2C8A630B0062}" type="presOf" srcId="{43E1DA78-2178-4A76-9308-5FB8CA122C6A}" destId="{4839B7E5-8712-42E4-A4DE-1DCF1B714526}" srcOrd="0" destOrd="0" presId="urn:microsoft.com/office/officeart/2016/7/layout/RepeatingBendingProcessNew"/>
    <dgm:cxn modelId="{C06D8313-035D-4330-B97C-6695EEA5EA7A}" type="presOf" srcId="{B4B1E63C-B1B7-4E11-B02C-F95AA80BE7BA}" destId="{5606A338-DF09-4CE0-A555-20A82138374F}" srcOrd="0" destOrd="0" presId="urn:microsoft.com/office/officeart/2016/7/layout/RepeatingBendingProcessNew"/>
    <dgm:cxn modelId="{EECD2124-01A8-4819-9054-4C50E39B7DDD}" srcId="{B51EADA5-BD02-4BD3-AE11-DB29AD15984A}" destId="{43E1DA78-2178-4A76-9308-5FB8CA122C6A}" srcOrd="7" destOrd="0" parTransId="{6EC7E46B-63B6-4EB9-B8DB-ABAD7BCE63DC}" sibTransId="{59FCB9A0-8561-4715-8C80-771D342F70E4}"/>
    <dgm:cxn modelId="{7E264025-62D3-44CF-8161-A3172EB85E7A}" srcId="{B51EADA5-BD02-4BD3-AE11-DB29AD15984A}" destId="{85821E97-3150-427E-B8EA-FC4DC2C3AC7F}" srcOrd="0" destOrd="0" parTransId="{C8860DFB-E76A-489D-858F-50F05C85C6C7}" sibTransId="{5681F82C-30EC-4C4B-89CC-96BE5F1C5DCD}"/>
    <dgm:cxn modelId="{04B3622A-9F2E-49F5-A0B0-9C5CE4211BB0}" type="presOf" srcId="{EA921047-F0E8-4A83-8919-62113538C7EB}" destId="{60F087EE-C195-4D5C-95D5-164CE7F901EC}" srcOrd="1" destOrd="0" presId="urn:microsoft.com/office/officeart/2016/7/layout/RepeatingBendingProcessNew"/>
    <dgm:cxn modelId="{3B584C2D-51FC-4366-9613-E969D5BB71CF}" type="presOf" srcId="{891944A0-5B8A-469F-BB27-B93F4EAE76B7}" destId="{BFEE59D2-119F-4DC7-B931-89770D07B5EC}" srcOrd="0" destOrd="0" presId="urn:microsoft.com/office/officeart/2016/7/layout/RepeatingBendingProcessNew"/>
    <dgm:cxn modelId="{EF655B34-7690-45E7-A522-65D49CB72239}" type="presOf" srcId="{EA921047-F0E8-4A83-8919-62113538C7EB}" destId="{FDF9F5E2-D433-4A1A-970B-FFFE198016EC}" srcOrd="0" destOrd="0" presId="urn:microsoft.com/office/officeart/2016/7/layout/RepeatingBendingProcessNew"/>
    <dgm:cxn modelId="{2F1D6F35-A3EC-4755-985E-AE72975CAFD5}" type="presOf" srcId="{56627C33-BAAC-4651-9E57-651FB7632C52}" destId="{5E3CCDB1-ABD7-40CB-92FC-BA429CA4761E}" srcOrd="0" destOrd="0" presId="urn:microsoft.com/office/officeart/2016/7/layout/RepeatingBendingProcessNew"/>
    <dgm:cxn modelId="{7CFD2561-3EE9-4FBD-AA7D-28B8258C06EE}" type="presOf" srcId="{891944A0-5B8A-469F-BB27-B93F4EAE76B7}" destId="{8010AC28-CAA3-4560-A496-656825EE3805}" srcOrd="1" destOrd="0" presId="urn:microsoft.com/office/officeart/2016/7/layout/RepeatingBendingProcessNew"/>
    <dgm:cxn modelId="{547BC261-A35F-4334-B19B-742272ABAC03}" type="presOf" srcId="{AD87BD18-7ACD-4B7F-97EE-619EEF364526}" destId="{F0E25BE5-1F2B-49CA-AD1C-0EE9DDC20070}" srcOrd="0" destOrd="0" presId="urn:microsoft.com/office/officeart/2016/7/layout/RepeatingBendingProcessNew"/>
    <dgm:cxn modelId="{FA278262-8139-4BC5-8BD0-1432FB577938}" type="presOf" srcId="{314CD1D8-80F0-4AB3-AD57-3C1300738B95}" destId="{4DEFD38A-6ECD-4A06-A2DF-A80308078185}" srcOrd="0" destOrd="0" presId="urn:microsoft.com/office/officeart/2016/7/layout/RepeatingBendingProcessNew"/>
    <dgm:cxn modelId="{577F4343-3DB7-4D42-ACE3-621ED2E6790E}" type="presOf" srcId="{9AEFDE5C-93D0-4FEE-ADB6-D8B34EE4CC77}" destId="{EE1C62B0-33B2-408A-B210-C1B3AD8E88EE}" srcOrd="0" destOrd="0" presId="urn:microsoft.com/office/officeart/2016/7/layout/RepeatingBendingProcessNew"/>
    <dgm:cxn modelId="{101DF064-A210-4FDE-A4DE-E394D5A45102}" type="presOf" srcId="{5681F82C-30EC-4C4B-89CC-96BE5F1C5DCD}" destId="{8C64D76A-35A4-47E4-827C-EC705D3F44AD}" srcOrd="1" destOrd="0" presId="urn:microsoft.com/office/officeart/2016/7/layout/RepeatingBendingProcessNew"/>
    <dgm:cxn modelId="{28CFFA64-5030-4B79-A46D-4464F387EAF5}" type="presOf" srcId="{6BE76FD3-700D-47D4-83D4-0EC4776BD3BE}" destId="{5456B4B1-397C-43F8-8A36-656D51D4618D}" srcOrd="1" destOrd="0" presId="urn:microsoft.com/office/officeart/2016/7/layout/RepeatingBendingProcessNew"/>
    <dgm:cxn modelId="{E97DB547-A8D6-4E7B-851C-7830BC672562}" type="presOf" srcId="{4197725A-A740-4DA0-B9E2-554FEECADAB5}" destId="{F64ADF10-7647-4E96-9E21-1D73D76C0277}" srcOrd="0" destOrd="0" presId="urn:microsoft.com/office/officeart/2016/7/layout/RepeatingBendingProcessNew"/>
    <dgm:cxn modelId="{DB7D9C6E-C8C4-4929-A45F-C9DBB718FC64}" type="presOf" srcId="{0B863179-0A5A-41B7-B617-C6A23DA0A56D}" destId="{3290A82A-8205-4F9F-A7CC-4FB398273A5E}" srcOrd="0" destOrd="0" presId="urn:microsoft.com/office/officeart/2016/7/layout/RepeatingBendingProcessNew"/>
    <dgm:cxn modelId="{2F673E6F-33E0-4D57-8019-418952B90C2E}" type="presOf" srcId="{6BE76FD3-700D-47D4-83D4-0EC4776BD3BE}" destId="{25AF159F-5F8B-4716-85A7-485FF496DFAC}" srcOrd="0" destOrd="0" presId="urn:microsoft.com/office/officeart/2016/7/layout/RepeatingBendingProcessNew"/>
    <dgm:cxn modelId="{7ADF1057-8F37-4959-B405-3C11DB9FA944}" srcId="{B51EADA5-BD02-4BD3-AE11-DB29AD15984A}" destId="{56627C33-BAAC-4651-9E57-651FB7632C52}" srcOrd="1" destOrd="0" parTransId="{EC051B3C-98EF-4570-A4F4-0B5BB2209218}" sibTransId="{891944A0-5B8A-469F-BB27-B93F4EAE76B7}"/>
    <dgm:cxn modelId="{29F66558-A2CC-44C8-B96A-6011D21049A7}" type="presOf" srcId="{59FCB9A0-8561-4715-8C80-771D342F70E4}" destId="{EC845E5B-AE6B-47B2-A4B4-236BBAD44EEC}" srcOrd="1" destOrd="0" presId="urn:microsoft.com/office/officeart/2016/7/layout/RepeatingBendingProcessNew"/>
    <dgm:cxn modelId="{0898D382-B663-48D4-93B4-1A871EC5D5F1}" srcId="{B51EADA5-BD02-4BD3-AE11-DB29AD15984A}" destId="{4197725A-A740-4DA0-B9E2-554FEECADAB5}" srcOrd="5" destOrd="0" parTransId="{C4689952-0540-4042-9CF8-4C43696EF1CC}" sibTransId="{6BE76FD3-700D-47D4-83D4-0EC4776BD3BE}"/>
    <dgm:cxn modelId="{A029C983-6B22-4C12-9505-9CACAEFC2FE4}" type="presOf" srcId="{5681F82C-30EC-4C4B-89CC-96BE5F1C5DCD}" destId="{4FB38B14-8B6C-4222-AABC-96EF23FCCBB9}" srcOrd="0" destOrd="0" presId="urn:microsoft.com/office/officeart/2016/7/layout/RepeatingBendingProcessNew"/>
    <dgm:cxn modelId="{6F0E4585-4BA2-4EDC-B2D9-C2773ED0FD89}" type="presOf" srcId="{74CE30A5-2E03-4903-8DAE-BD26AE23B296}" destId="{9C119BE9-8BC0-46EB-8E1E-37E581AC1FA0}" srcOrd="1" destOrd="0" presId="urn:microsoft.com/office/officeart/2016/7/layout/RepeatingBendingProcessNew"/>
    <dgm:cxn modelId="{C6961D89-7610-41FD-B099-AEFFE731E4F4}" type="presOf" srcId="{5CA17065-EF15-403C-BFF3-414320364696}" destId="{F49BB304-94AC-4640-9FE0-538B2CC25718}" srcOrd="0" destOrd="0" presId="urn:microsoft.com/office/officeart/2016/7/layout/RepeatingBendingProcessNew"/>
    <dgm:cxn modelId="{33B50E9F-716D-4BBA-A7F8-2A1D00224562}" type="presOf" srcId="{669D30DC-5036-49B8-8AA0-016C7656F5D5}" destId="{25DE966D-2942-4BB6-87FB-2FD5CCB87000}" srcOrd="0" destOrd="0" presId="urn:microsoft.com/office/officeart/2016/7/layout/RepeatingBendingProcessNew"/>
    <dgm:cxn modelId="{AA4C65AD-BDA4-468B-8F9B-3EF381440599}" type="presOf" srcId="{0B863179-0A5A-41B7-B617-C6A23DA0A56D}" destId="{CCF23E20-FB16-4480-BDA7-018F8BD30E49}" srcOrd="1" destOrd="0" presId="urn:microsoft.com/office/officeart/2016/7/layout/RepeatingBendingProcessNew"/>
    <dgm:cxn modelId="{3E3024BE-C1DB-47E4-853F-0143B172CA7A}" srcId="{B51EADA5-BD02-4BD3-AE11-DB29AD15984A}" destId="{B4B1E63C-B1B7-4E11-B02C-F95AA80BE7BA}" srcOrd="2" destOrd="0" parTransId="{A8B835F6-E005-4704-A230-6755950395DA}" sibTransId="{669D30DC-5036-49B8-8AA0-016C7656F5D5}"/>
    <dgm:cxn modelId="{AD9C1AC0-3CC6-4691-A903-84E8A35B78A7}" srcId="{B51EADA5-BD02-4BD3-AE11-DB29AD15984A}" destId="{314CD1D8-80F0-4AB3-AD57-3C1300738B95}" srcOrd="6" destOrd="0" parTransId="{28A38DF9-DFA1-4CE6-9F42-DAF6260756CD}" sibTransId="{0B863179-0A5A-41B7-B617-C6A23DA0A56D}"/>
    <dgm:cxn modelId="{98CA98D0-4007-4E6B-83BD-A8C29E3D311C}" srcId="{B51EADA5-BD02-4BD3-AE11-DB29AD15984A}" destId="{5CA17065-EF15-403C-BFF3-414320364696}" srcOrd="8" destOrd="0" parTransId="{19DCD2D9-BE4A-4964-A629-68B18DD30ED4}" sibTransId="{BE9354AE-E23D-4503-9961-FA35733786ED}"/>
    <dgm:cxn modelId="{AB4F91D5-BEFD-4D72-8369-36549EAF5C15}" type="presOf" srcId="{B51EADA5-BD02-4BD3-AE11-DB29AD15984A}" destId="{54B7FE93-1E18-42BD-8D96-6BF3F70896E0}" srcOrd="0" destOrd="0" presId="urn:microsoft.com/office/officeart/2016/7/layout/RepeatingBendingProcessNew"/>
    <dgm:cxn modelId="{9C051FDB-3A8B-482B-8C08-9AE9C57BD107}" type="presOf" srcId="{85821E97-3150-427E-B8EA-FC4DC2C3AC7F}" destId="{8EF66F71-4033-4751-99D8-72EBA877096C}" srcOrd="0" destOrd="0" presId="urn:microsoft.com/office/officeart/2016/7/layout/RepeatingBendingProcessNew"/>
    <dgm:cxn modelId="{7493D9F2-B509-4E4C-B0E7-0012AFB8C16C}" srcId="{B51EADA5-BD02-4BD3-AE11-DB29AD15984A}" destId="{AD87BD18-7ACD-4B7F-97EE-619EEF364526}" srcOrd="3" destOrd="0" parTransId="{45D4AC11-7C17-47FA-A57D-826374E766CD}" sibTransId="{74CE30A5-2E03-4903-8DAE-BD26AE23B296}"/>
    <dgm:cxn modelId="{5DF429F7-ACEA-400C-AC33-75BC3C5F2800}" type="presOf" srcId="{59FCB9A0-8561-4715-8C80-771D342F70E4}" destId="{8D690500-F4AC-4D3E-AE75-A0C19A44D7BF}" srcOrd="0" destOrd="0" presId="urn:microsoft.com/office/officeart/2016/7/layout/RepeatingBendingProcessNew"/>
    <dgm:cxn modelId="{662BB8F7-E591-40E3-B01C-C9AC07481875}" type="presOf" srcId="{74CE30A5-2E03-4903-8DAE-BD26AE23B296}" destId="{2D2D5768-C323-4437-BF45-E962FEF2A50B}" srcOrd="0" destOrd="0" presId="urn:microsoft.com/office/officeart/2016/7/layout/RepeatingBendingProcessNew"/>
    <dgm:cxn modelId="{CDF985FB-ED5A-4ABC-8C12-7596E2C028E8}" srcId="{B51EADA5-BD02-4BD3-AE11-DB29AD15984A}" destId="{9AEFDE5C-93D0-4FEE-ADB6-D8B34EE4CC77}" srcOrd="4" destOrd="0" parTransId="{463F6413-2A09-45ED-9882-5D0E3378C846}" sibTransId="{EA921047-F0E8-4A83-8919-62113538C7EB}"/>
    <dgm:cxn modelId="{274373FE-AEF5-4AB5-A88D-93FDBE2C4882}" type="presOf" srcId="{669D30DC-5036-49B8-8AA0-016C7656F5D5}" destId="{AE4DCF62-8078-4456-B9E4-8F36665F9AD3}" srcOrd="1" destOrd="0" presId="urn:microsoft.com/office/officeart/2016/7/layout/RepeatingBendingProcessNew"/>
    <dgm:cxn modelId="{9E1A65D5-FD9E-45D7-8E57-A42A1ED98968}" type="presParOf" srcId="{54B7FE93-1E18-42BD-8D96-6BF3F70896E0}" destId="{8EF66F71-4033-4751-99D8-72EBA877096C}" srcOrd="0" destOrd="0" presId="urn:microsoft.com/office/officeart/2016/7/layout/RepeatingBendingProcessNew"/>
    <dgm:cxn modelId="{5E443D07-8F5F-4CD0-8042-FD76A9B30B6C}" type="presParOf" srcId="{54B7FE93-1E18-42BD-8D96-6BF3F70896E0}" destId="{4FB38B14-8B6C-4222-AABC-96EF23FCCBB9}" srcOrd="1" destOrd="0" presId="urn:microsoft.com/office/officeart/2016/7/layout/RepeatingBendingProcessNew"/>
    <dgm:cxn modelId="{28616BFF-64F9-4DA5-8418-C594C7C0C486}" type="presParOf" srcId="{4FB38B14-8B6C-4222-AABC-96EF23FCCBB9}" destId="{8C64D76A-35A4-47E4-827C-EC705D3F44AD}" srcOrd="0" destOrd="0" presId="urn:microsoft.com/office/officeart/2016/7/layout/RepeatingBendingProcessNew"/>
    <dgm:cxn modelId="{A912EA2C-399E-41B0-8322-7FD2D1F8FD29}" type="presParOf" srcId="{54B7FE93-1E18-42BD-8D96-6BF3F70896E0}" destId="{5E3CCDB1-ABD7-40CB-92FC-BA429CA4761E}" srcOrd="2" destOrd="0" presId="urn:microsoft.com/office/officeart/2016/7/layout/RepeatingBendingProcessNew"/>
    <dgm:cxn modelId="{42F01482-89BA-4182-80C3-FC34B0993349}" type="presParOf" srcId="{54B7FE93-1E18-42BD-8D96-6BF3F70896E0}" destId="{BFEE59D2-119F-4DC7-B931-89770D07B5EC}" srcOrd="3" destOrd="0" presId="urn:microsoft.com/office/officeart/2016/7/layout/RepeatingBendingProcessNew"/>
    <dgm:cxn modelId="{86BF4A0D-4CB8-4329-8EF3-A8F14BE754F2}" type="presParOf" srcId="{BFEE59D2-119F-4DC7-B931-89770D07B5EC}" destId="{8010AC28-CAA3-4560-A496-656825EE3805}" srcOrd="0" destOrd="0" presId="urn:microsoft.com/office/officeart/2016/7/layout/RepeatingBendingProcessNew"/>
    <dgm:cxn modelId="{83E65864-7ED8-4DA4-962D-966DBE6F1B7E}" type="presParOf" srcId="{54B7FE93-1E18-42BD-8D96-6BF3F70896E0}" destId="{5606A338-DF09-4CE0-A555-20A82138374F}" srcOrd="4" destOrd="0" presId="urn:microsoft.com/office/officeart/2016/7/layout/RepeatingBendingProcessNew"/>
    <dgm:cxn modelId="{1F5BEBE9-B4BF-47F6-92B8-DC319E96DCE0}" type="presParOf" srcId="{54B7FE93-1E18-42BD-8D96-6BF3F70896E0}" destId="{25DE966D-2942-4BB6-87FB-2FD5CCB87000}" srcOrd="5" destOrd="0" presId="urn:microsoft.com/office/officeart/2016/7/layout/RepeatingBendingProcessNew"/>
    <dgm:cxn modelId="{98B0115A-C104-4A2E-A891-1D5C02746DB0}" type="presParOf" srcId="{25DE966D-2942-4BB6-87FB-2FD5CCB87000}" destId="{AE4DCF62-8078-4456-B9E4-8F36665F9AD3}" srcOrd="0" destOrd="0" presId="urn:microsoft.com/office/officeart/2016/7/layout/RepeatingBendingProcessNew"/>
    <dgm:cxn modelId="{F353C045-D214-49E1-9020-4BE22845AC8E}" type="presParOf" srcId="{54B7FE93-1E18-42BD-8D96-6BF3F70896E0}" destId="{F0E25BE5-1F2B-49CA-AD1C-0EE9DDC20070}" srcOrd="6" destOrd="0" presId="urn:microsoft.com/office/officeart/2016/7/layout/RepeatingBendingProcessNew"/>
    <dgm:cxn modelId="{7EF57E05-CCF2-408D-8A9B-3AE62CA8329E}" type="presParOf" srcId="{54B7FE93-1E18-42BD-8D96-6BF3F70896E0}" destId="{2D2D5768-C323-4437-BF45-E962FEF2A50B}" srcOrd="7" destOrd="0" presId="urn:microsoft.com/office/officeart/2016/7/layout/RepeatingBendingProcessNew"/>
    <dgm:cxn modelId="{4A31E429-79DE-4ADB-8379-9294C62C60D0}" type="presParOf" srcId="{2D2D5768-C323-4437-BF45-E962FEF2A50B}" destId="{9C119BE9-8BC0-46EB-8E1E-37E581AC1FA0}" srcOrd="0" destOrd="0" presId="urn:microsoft.com/office/officeart/2016/7/layout/RepeatingBendingProcessNew"/>
    <dgm:cxn modelId="{64779B05-8434-4764-9708-E2BC94FAFDFB}" type="presParOf" srcId="{54B7FE93-1E18-42BD-8D96-6BF3F70896E0}" destId="{EE1C62B0-33B2-408A-B210-C1B3AD8E88EE}" srcOrd="8" destOrd="0" presId="urn:microsoft.com/office/officeart/2016/7/layout/RepeatingBendingProcessNew"/>
    <dgm:cxn modelId="{69E07F08-1B68-46FC-8177-E3B04D4C5F5C}" type="presParOf" srcId="{54B7FE93-1E18-42BD-8D96-6BF3F70896E0}" destId="{FDF9F5E2-D433-4A1A-970B-FFFE198016EC}" srcOrd="9" destOrd="0" presId="urn:microsoft.com/office/officeart/2016/7/layout/RepeatingBendingProcessNew"/>
    <dgm:cxn modelId="{6261275D-7A1A-492A-8C8F-3ABC0614EE6E}" type="presParOf" srcId="{FDF9F5E2-D433-4A1A-970B-FFFE198016EC}" destId="{60F087EE-C195-4D5C-95D5-164CE7F901EC}" srcOrd="0" destOrd="0" presId="urn:microsoft.com/office/officeart/2016/7/layout/RepeatingBendingProcessNew"/>
    <dgm:cxn modelId="{B9B624A7-9873-468C-823C-537EEAE441A4}" type="presParOf" srcId="{54B7FE93-1E18-42BD-8D96-6BF3F70896E0}" destId="{F64ADF10-7647-4E96-9E21-1D73D76C0277}" srcOrd="10" destOrd="0" presId="urn:microsoft.com/office/officeart/2016/7/layout/RepeatingBendingProcessNew"/>
    <dgm:cxn modelId="{AA4675BB-27B8-42E1-9032-91F83FBCA89A}" type="presParOf" srcId="{54B7FE93-1E18-42BD-8D96-6BF3F70896E0}" destId="{25AF159F-5F8B-4716-85A7-485FF496DFAC}" srcOrd="11" destOrd="0" presId="urn:microsoft.com/office/officeart/2016/7/layout/RepeatingBendingProcessNew"/>
    <dgm:cxn modelId="{68ECE620-F511-4D8C-8539-A37121AAA35B}" type="presParOf" srcId="{25AF159F-5F8B-4716-85A7-485FF496DFAC}" destId="{5456B4B1-397C-43F8-8A36-656D51D4618D}" srcOrd="0" destOrd="0" presId="urn:microsoft.com/office/officeart/2016/7/layout/RepeatingBendingProcessNew"/>
    <dgm:cxn modelId="{6AFA04EF-E893-4D99-A1A3-CCB346EA62BB}" type="presParOf" srcId="{54B7FE93-1E18-42BD-8D96-6BF3F70896E0}" destId="{4DEFD38A-6ECD-4A06-A2DF-A80308078185}" srcOrd="12" destOrd="0" presId="urn:microsoft.com/office/officeart/2016/7/layout/RepeatingBendingProcessNew"/>
    <dgm:cxn modelId="{659DAF91-89F3-42F5-AF38-CA3416C90C42}" type="presParOf" srcId="{54B7FE93-1E18-42BD-8D96-6BF3F70896E0}" destId="{3290A82A-8205-4F9F-A7CC-4FB398273A5E}" srcOrd="13" destOrd="0" presId="urn:microsoft.com/office/officeart/2016/7/layout/RepeatingBendingProcessNew"/>
    <dgm:cxn modelId="{FD5957A0-E9C0-44C5-8E45-A722A5EAA82B}" type="presParOf" srcId="{3290A82A-8205-4F9F-A7CC-4FB398273A5E}" destId="{CCF23E20-FB16-4480-BDA7-018F8BD30E49}" srcOrd="0" destOrd="0" presId="urn:microsoft.com/office/officeart/2016/7/layout/RepeatingBendingProcessNew"/>
    <dgm:cxn modelId="{FE2BB661-3CF0-4DF2-9131-5E8484C1E598}" type="presParOf" srcId="{54B7FE93-1E18-42BD-8D96-6BF3F70896E0}" destId="{4839B7E5-8712-42E4-A4DE-1DCF1B714526}" srcOrd="14" destOrd="0" presId="urn:microsoft.com/office/officeart/2016/7/layout/RepeatingBendingProcessNew"/>
    <dgm:cxn modelId="{CBB303E8-CB28-47F4-BD8A-7B21596A864A}" type="presParOf" srcId="{54B7FE93-1E18-42BD-8D96-6BF3F70896E0}" destId="{8D690500-F4AC-4D3E-AE75-A0C19A44D7BF}" srcOrd="15" destOrd="0" presId="urn:microsoft.com/office/officeart/2016/7/layout/RepeatingBendingProcessNew"/>
    <dgm:cxn modelId="{22447BDF-EDD2-4799-965E-22EF34ED425B}" type="presParOf" srcId="{8D690500-F4AC-4D3E-AE75-A0C19A44D7BF}" destId="{EC845E5B-AE6B-47B2-A4B4-236BBAD44EEC}" srcOrd="0" destOrd="0" presId="urn:microsoft.com/office/officeart/2016/7/layout/RepeatingBendingProcessNew"/>
    <dgm:cxn modelId="{E58A0EE1-97D9-4842-BDBF-AFAA6EF9A829}" type="presParOf" srcId="{54B7FE93-1E18-42BD-8D96-6BF3F70896E0}" destId="{F49BB304-94AC-4640-9FE0-538B2CC25718}" srcOrd="16"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E823A18-25F7-40A8-9F70-8BAFF7F5733A}" type="doc">
      <dgm:prSet loTypeId="urn:microsoft.com/office/officeart/2018/2/layout/IconVerticalSolidList" loCatId="icon" qsTypeId="urn:microsoft.com/office/officeart/2005/8/quickstyle/simple1" qsCatId="simple" csTypeId="urn:microsoft.com/office/officeart/2018/5/colors/Iconchunking_neutralicontext_colorful1" csCatId="colorful" phldr="1"/>
      <dgm:spPr/>
      <dgm:t>
        <a:bodyPr/>
        <a:lstStyle/>
        <a:p>
          <a:endParaRPr lang="en-US"/>
        </a:p>
      </dgm:t>
    </dgm:pt>
    <dgm:pt modelId="{E7437F3D-A9DF-49C6-8792-81D51B40344E}">
      <dgm:prSet/>
      <dgm:spPr/>
      <dgm:t>
        <a:bodyPr/>
        <a:lstStyle/>
        <a:p>
          <a:pPr>
            <a:lnSpc>
              <a:spcPct val="100000"/>
            </a:lnSpc>
          </a:pPr>
          <a:r>
            <a:rPr lang="en-US"/>
            <a:t>Narrative should include the</a:t>
          </a:r>
          <a:r>
            <a:rPr lang="en-US">
              <a:latin typeface="Calibri Light"/>
            </a:rPr>
            <a:t> primary</a:t>
          </a:r>
          <a:r>
            <a:rPr lang="en-US"/>
            <a:t> host director &amp; institution.</a:t>
          </a:r>
        </a:p>
      </dgm:t>
    </dgm:pt>
    <dgm:pt modelId="{4B33D50B-BFB4-442E-B340-CE4977E74F0C}" type="parTrans" cxnId="{EAA297AB-E0E6-43E2-8DBD-334570D7F2E4}">
      <dgm:prSet/>
      <dgm:spPr/>
      <dgm:t>
        <a:bodyPr/>
        <a:lstStyle/>
        <a:p>
          <a:endParaRPr lang="en-US"/>
        </a:p>
      </dgm:t>
    </dgm:pt>
    <dgm:pt modelId="{F20093B7-9AA6-4ED0-8AEE-8F45391C523F}" type="sibTrans" cxnId="{EAA297AB-E0E6-43E2-8DBD-334570D7F2E4}">
      <dgm:prSet/>
      <dgm:spPr/>
      <dgm:t>
        <a:bodyPr/>
        <a:lstStyle/>
        <a:p>
          <a:endParaRPr lang="en-US"/>
        </a:p>
      </dgm:t>
    </dgm:pt>
    <dgm:pt modelId="{CAAA0F65-B4D9-48BB-993B-89D00B6A2619}">
      <dgm:prSet/>
      <dgm:spPr/>
      <dgm:t>
        <a:bodyPr/>
        <a:lstStyle/>
        <a:p>
          <a:pPr>
            <a:lnSpc>
              <a:spcPct val="100000"/>
            </a:lnSpc>
          </a:pPr>
          <a:r>
            <a:rPr lang="en-US"/>
            <a:t>Special Project funding will be sent to the host institution.</a:t>
          </a:r>
        </a:p>
      </dgm:t>
    </dgm:pt>
    <dgm:pt modelId="{121EF140-7058-4C05-9288-8CA03BE99467}" type="parTrans" cxnId="{490FC3A2-4868-4549-96C1-D0B325F3BDB3}">
      <dgm:prSet/>
      <dgm:spPr/>
      <dgm:t>
        <a:bodyPr/>
        <a:lstStyle/>
        <a:p>
          <a:endParaRPr lang="en-US"/>
        </a:p>
      </dgm:t>
    </dgm:pt>
    <dgm:pt modelId="{DFAEC779-BB97-41A9-BCF4-CCC1A4D926BA}" type="sibTrans" cxnId="{490FC3A2-4868-4549-96C1-D0B325F3BDB3}">
      <dgm:prSet/>
      <dgm:spPr/>
      <dgm:t>
        <a:bodyPr/>
        <a:lstStyle/>
        <a:p>
          <a:endParaRPr lang="en-US"/>
        </a:p>
      </dgm:t>
    </dgm:pt>
    <dgm:pt modelId="{6308F277-2FAD-4817-A95D-AC2DF4025436}">
      <dgm:prSet/>
      <dgm:spPr/>
      <dgm:t>
        <a:bodyPr/>
        <a:lstStyle/>
        <a:p>
          <a:pPr rtl="0">
            <a:lnSpc>
              <a:spcPct val="100000"/>
            </a:lnSpc>
          </a:pPr>
          <a:r>
            <a:rPr lang="en-US"/>
            <a:t>The host director is responsible for completing</a:t>
          </a:r>
          <a:r>
            <a:rPr lang="en-US">
              <a:latin typeface="Calibri Light"/>
            </a:rPr>
            <a:t> and</a:t>
          </a:r>
          <a:r>
            <a:rPr lang="en-US"/>
            <a:t> submitting the application, budget, modifications and expenditure report. </a:t>
          </a:r>
        </a:p>
      </dgm:t>
    </dgm:pt>
    <dgm:pt modelId="{2C2ADCD3-D501-4638-AF1F-7845DD91619D}" type="parTrans" cxnId="{A8FEF6D8-886D-4998-8E2D-533E95EA9101}">
      <dgm:prSet/>
      <dgm:spPr/>
      <dgm:t>
        <a:bodyPr/>
        <a:lstStyle/>
        <a:p>
          <a:endParaRPr lang="en-US"/>
        </a:p>
      </dgm:t>
    </dgm:pt>
    <dgm:pt modelId="{5BEBEA78-72F7-4056-B8F9-4B74DE5A294E}" type="sibTrans" cxnId="{A8FEF6D8-886D-4998-8E2D-533E95EA9101}">
      <dgm:prSet/>
      <dgm:spPr/>
      <dgm:t>
        <a:bodyPr/>
        <a:lstStyle/>
        <a:p>
          <a:endParaRPr lang="en-US"/>
        </a:p>
      </dgm:t>
    </dgm:pt>
    <dgm:pt modelId="{484997DF-E730-4DE7-9FAE-167B42349C7F}" type="pres">
      <dgm:prSet presAssocID="{5E823A18-25F7-40A8-9F70-8BAFF7F5733A}" presName="root" presStyleCnt="0">
        <dgm:presLayoutVars>
          <dgm:dir/>
          <dgm:resizeHandles val="exact"/>
        </dgm:presLayoutVars>
      </dgm:prSet>
      <dgm:spPr/>
    </dgm:pt>
    <dgm:pt modelId="{75754B2C-3CBA-4E5A-A93D-E61D07D8BBAA}" type="pres">
      <dgm:prSet presAssocID="{E7437F3D-A9DF-49C6-8792-81D51B40344E}" presName="compNode" presStyleCnt="0"/>
      <dgm:spPr/>
    </dgm:pt>
    <dgm:pt modelId="{69CFC944-981F-4061-BA6B-B98B9D31D563}" type="pres">
      <dgm:prSet presAssocID="{E7437F3D-A9DF-49C6-8792-81D51B40344E}" presName="bgRect" presStyleLbl="bgShp" presStyleIdx="0" presStyleCnt="3"/>
      <dgm:spPr/>
    </dgm:pt>
    <dgm:pt modelId="{82594195-6DBF-44C6-8C9F-48E3C8A574CA}" type="pres">
      <dgm:prSet presAssocID="{E7437F3D-A9DF-49C6-8792-81D51B40344E}" presName="iconRect" presStyleLbl="node1" presStyleIdx="0" presStyleCnt="3"/>
      <dgm:spPr>
        <a:blipFill>
          <a:blip xmlns:r="http://schemas.openxmlformats.org/officeDocument/2006/relationships" r:embed="rId1"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Quotes"/>
        </a:ext>
      </dgm:extLst>
    </dgm:pt>
    <dgm:pt modelId="{F88185D3-7A2A-4765-ADA6-0CC72AEFCA42}" type="pres">
      <dgm:prSet presAssocID="{E7437F3D-A9DF-49C6-8792-81D51B40344E}" presName="spaceRect" presStyleCnt="0"/>
      <dgm:spPr/>
    </dgm:pt>
    <dgm:pt modelId="{92BDC135-E782-4B27-B35C-85354549DEDE}" type="pres">
      <dgm:prSet presAssocID="{E7437F3D-A9DF-49C6-8792-81D51B40344E}" presName="parTx" presStyleLbl="revTx" presStyleIdx="0" presStyleCnt="3">
        <dgm:presLayoutVars>
          <dgm:chMax val="0"/>
          <dgm:chPref val="0"/>
        </dgm:presLayoutVars>
      </dgm:prSet>
      <dgm:spPr/>
    </dgm:pt>
    <dgm:pt modelId="{96B2044A-6876-4C25-AC77-400149ED3109}" type="pres">
      <dgm:prSet presAssocID="{F20093B7-9AA6-4ED0-8AEE-8F45391C523F}" presName="sibTrans" presStyleCnt="0"/>
      <dgm:spPr/>
    </dgm:pt>
    <dgm:pt modelId="{61838D10-C81B-4240-A29C-49D297847C6D}" type="pres">
      <dgm:prSet presAssocID="{CAAA0F65-B4D9-48BB-993B-89D00B6A2619}" presName="compNode" presStyleCnt="0"/>
      <dgm:spPr/>
    </dgm:pt>
    <dgm:pt modelId="{D7C180EF-E9B1-4796-980F-316FAC230028}" type="pres">
      <dgm:prSet presAssocID="{CAAA0F65-B4D9-48BB-993B-89D00B6A2619}" presName="bgRect" presStyleLbl="bgShp" presStyleIdx="1" presStyleCnt="3"/>
      <dgm:spPr/>
    </dgm:pt>
    <dgm:pt modelId="{D285D28E-3658-468C-A36B-A6B7D4BF5078}" type="pres">
      <dgm:prSet presAssocID="{CAAA0F65-B4D9-48BB-993B-89D00B6A2619}" presName="iconRect" presStyleLbl="node1" presStyleIdx="1" presStyleCnt="3"/>
      <dgm:spPr>
        <a:blipFill>
          <a:blip xmlns:r="http://schemas.openxmlformats.org/officeDocument/2006/relationships"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ank"/>
        </a:ext>
      </dgm:extLst>
    </dgm:pt>
    <dgm:pt modelId="{F4FD8991-8F39-49BD-9C7D-757ECB55B248}" type="pres">
      <dgm:prSet presAssocID="{CAAA0F65-B4D9-48BB-993B-89D00B6A2619}" presName="spaceRect" presStyleCnt="0"/>
      <dgm:spPr/>
    </dgm:pt>
    <dgm:pt modelId="{0B3655DE-2B41-4B2A-B8E9-AA10BD1AF312}" type="pres">
      <dgm:prSet presAssocID="{CAAA0F65-B4D9-48BB-993B-89D00B6A2619}" presName="parTx" presStyleLbl="revTx" presStyleIdx="1" presStyleCnt="3">
        <dgm:presLayoutVars>
          <dgm:chMax val="0"/>
          <dgm:chPref val="0"/>
        </dgm:presLayoutVars>
      </dgm:prSet>
      <dgm:spPr/>
    </dgm:pt>
    <dgm:pt modelId="{029D7368-8AA6-4AB1-AE29-4E3409AD6B79}" type="pres">
      <dgm:prSet presAssocID="{DFAEC779-BB97-41A9-BCF4-CCC1A4D926BA}" presName="sibTrans" presStyleCnt="0"/>
      <dgm:spPr/>
    </dgm:pt>
    <dgm:pt modelId="{5D2391DE-4923-40EF-96F5-C57501CD939D}" type="pres">
      <dgm:prSet presAssocID="{6308F277-2FAD-4817-A95D-AC2DF4025436}" presName="compNode" presStyleCnt="0"/>
      <dgm:spPr/>
    </dgm:pt>
    <dgm:pt modelId="{7F8DE6F6-1984-4D82-B658-63206CF29D78}" type="pres">
      <dgm:prSet presAssocID="{6308F277-2FAD-4817-A95D-AC2DF4025436}" presName="bgRect" presStyleLbl="bgShp" presStyleIdx="2" presStyleCnt="3"/>
      <dgm:spPr/>
    </dgm:pt>
    <dgm:pt modelId="{A8EC710F-0B51-4A17-AD94-67B1C3FC8FFC}" type="pres">
      <dgm:prSet presAssocID="{6308F277-2FAD-4817-A95D-AC2DF4025436}" presName="iconRect" presStyleLbl="node1" presStyleIdx="2" presStyleCnt="3"/>
      <dgm:spPr>
        <a:blipFill>
          <a:blip xmlns:r="http://schemas.openxmlformats.org/officeDocument/2006/relationships"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Processor"/>
        </a:ext>
      </dgm:extLst>
    </dgm:pt>
    <dgm:pt modelId="{CF0AB65B-35C4-4EC1-B9EA-30319DEAF799}" type="pres">
      <dgm:prSet presAssocID="{6308F277-2FAD-4817-A95D-AC2DF4025436}" presName="spaceRect" presStyleCnt="0"/>
      <dgm:spPr/>
    </dgm:pt>
    <dgm:pt modelId="{76399C12-0ED0-4138-BB1B-AB5B2BB81530}" type="pres">
      <dgm:prSet presAssocID="{6308F277-2FAD-4817-A95D-AC2DF4025436}" presName="parTx" presStyleLbl="revTx" presStyleIdx="2" presStyleCnt="3">
        <dgm:presLayoutVars>
          <dgm:chMax val="0"/>
          <dgm:chPref val="0"/>
        </dgm:presLayoutVars>
      </dgm:prSet>
      <dgm:spPr/>
    </dgm:pt>
  </dgm:ptLst>
  <dgm:cxnLst>
    <dgm:cxn modelId="{64231339-A253-4273-9F9C-08A510A24A44}" type="presOf" srcId="{5E823A18-25F7-40A8-9F70-8BAFF7F5733A}" destId="{484997DF-E730-4DE7-9FAE-167B42349C7F}" srcOrd="0" destOrd="0" presId="urn:microsoft.com/office/officeart/2018/2/layout/IconVerticalSolidList"/>
    <dgm:cxn modelId="{5D1E296F-0F92-4B50-8F7F-55B9E851DF38}" type="presOf" srcId="{E7437F3D-A9DF-49C6-8792-81D51B40344E}" destId="{92BDC135-E782-4B27-B35C-85354549DEDE}" srcOrd="0" destOrd="0" presId="urn:microsoft.com/office/officeart/2018/2/layout/IconVerticalSolidList"/>
    <dgm:cxn modelId="{0DC94353-70DF-4DBA-89DD-4027704A9704}" type="presOf" srcId="{CAAA0F65-B4D9-48BB-993B-89D00B6A2619}" destId="{0B3655DE-2B41-4B2A-B8E9-AA10BD1AF312}" srcOrd="0" destOrd="0" presId="urn:microsoft.com/office/officeart/2018/2/layout/IconVerticalSolidList"/>
    <dgm:cxn modelId="{86ED5879-BEF5-4558-A5A3-4179556171C1}" type="presOf" srcId="{6308F277-2FAD-4817-A95D-AC2DF4025436}" destId="{76399C12-0ED0-4138-BB1B-AB5B2BB81530}" srcOrd="0" destOrd="0" presId="urn:microsoft.com/office/officeart/2018/2/layout/IconVerticalSolidList"/>
    <dgm:cxn modelId="{490FC3A2-4868-4549-96C1-D0B325F3BDB3}" srcId="{5E823A18-25F7-40A8-9F70-8BAFF7F5733A}" destId="{CAAA0F65-B4D9-48BB-993B-89D00B6A2619}" srcOrd="1" destOrd="0" parTransId="{121EF140-7058-4C05-9288-8CA03BE99467}" sibTransId="{DFAEC779-BB97-41A9-BCF4-CCC1A4D926BA}"/>
    <dgm:cxn modelId="{EAA297AB-E0E6-43E2-8DBD-334570D7F2E4}" srcId="{5E823A18-25F7-40A8-9F70-8BAFF7F5733A}" destId="{E7437F3D-A9DF-49C6-8792-81D51B40344E}" srcOrd="0" destOrd="0" parTransId="{4B33D50B-BFB4-442E-B340-CE4977E74F0C}" sibTransId="{F20093B7-9AA6-4ED0-8AEE-8F45391C523F}"/>
    <dgm:cxn modelId="{A8FEF6D8-886D-4998-8E2D-533E95EA9101}" srcId="{5E823A18-25F7-40A8-9F70-8BAFF7F5733A}" destId="{6308F277-2FAD-4817-A95D-AC2DF4025436}" srcOrd="2" destOrd="0" parTransId="{2C2ADCD3-D501-4638-AF1F-7845DD91619D}" sibTransId="{5BEBEA78-72F7-4056-B8F9-4B74DE5A294E}"/>
    <dgm:cxn modelId="{D28B5020-3D15-4CBE-9FAB-C8B3DEDC3E2A}" type="presParOf" srcId="{484997DF-E730-4DE7-9FAE-167B42349C7F}" destId="{75754B2C-3CBA-4E5A-A93D-E61D07D8BBAA}" srcOrd="0" destOrd="0" presId="urn:microsoft.com/office/officeart/2018/2/layout/IconVerticalSolidList"/>
    <dgm:cxn modelId="{6FA2E9B7-9E77-4869-968C-F5FCC2B8D6CD}" type="presParOf" srcId="{75754B2C-3CBA-4E5A-A93D-E61D07D8BBAA}" destId="{69CFC944-981F-4061-BA6B-B98B9D31D563}" srcOrd="0" destOrd="0" presId="urn:microsoft.com/office/officeart/2018/2/layout/IconVerticalSolidList"/>
    <dgm:cxn modelId="{C8FF03CB-516C-4A89-979A-EC45BF078C4C}" type="presParOf" srcId="{75754B2C-3CBA-4E5A-A93D-E61D07D8BBAA}" destId="{82594195-6DBF-44C6-8C9F-48E3C8A574CA}" srcOrd="1" destOrd="0" presId="urn:microsoft.com/office/officeart/2018/2/layout/IconVerticalSolidList"/>
    <dgm:cxn modelId="{7FF4A9E3-313C-4C15-9945-4AC6C2B09563}" type="presParOf" srcId="{75754B2C-3CBA-4E5A-A93D-E61D07D8BBAA}" destId="{F88185D3-7A2A-4765-ADA6-0CC72AEFCA42}" srcOrd="2" destOrd="0" presId="urn:microsoft.com/office/officeart/2018/2/layout/IconVerticalSolidList"/>
    <dgm:cxn modelId="{A2D30A3A-0B35-48E3-81B7-55246F86AC90}" type="presParOf" srcId="{75754B2C-3CBA-4E5A-A93D-E61D07D8BBAA}" destId="{92BDC135-E782-4B27-B35C-85354549DEDE}" srcOrd="3" destOrd="0" presId="urn:microsoft.com/office/officeart/2018/2/layout/IconVerticalSolidList"/>
    <dgm:cxn modelId="{378C45B3-372C-4E86-B452-8D78AA5541CB}" type="presParOf" srcId="{484997DF-E730-4DE7-9FAE-167B42349C7F}" destId="{96B2044A-6876-4C25-AC77-400149ED3109}" srcOrd="1" destOrd="0" presId="urn:microsoft.com/office/officeart/2018/2/layout/IconVerticalSolidList"/>
    <dgm:cxn modelId="{F1A0DDEF-EE37-4C90-9BDC-68561031CB62}" type="presParOf" srcId="{484997DF-E730-4DE7-9FAE-167B42349C7F}" destId="{61838D10-C81B-4240-A29C-49D297847C6D}" srcOrd="2" destOrd="0" presId="urn:microsoft.com/office/officeart/2018/2/layout/IconVerticalSolidList"/>
    <dgm:cxn modelId="{12D40DFE-01F8-4CF3-A655-AF17E288917C}" type="presParOf" srcId="{61838D10-C81B-4240-A29C-49D297847C6D}" destId="{D7C180EF-E9B1-4796-980F-316FAC230028}" srcOrd="0" destOrd="0" presId="urn:microsoft.com/office/officeart/2018/2/layout/IconVerticalSolidList"/>
    <dgm:cxn modelId="{D59F7298-E93E-4435-B393-492277B4B68E}" type="presParOf" srcId="{61838D10-C81B-4240-A29C-49D297847C6D}" destId="{D285D28E-3658-468C-A36B-A6B7D4BF5078}" srcOrd="1" destOrd="0" presId="urn:microsoft.com/office/officeart/2018/2/layout/IconVerticalSolidList"/>
    <dgm:cxn modelId="{F8135DB3-F50E-4EED-9854-9F27F30AD9E8}" type="presParOf" srcId="{61838D10-C81B-4240-A29C-49D297847C6D}" destId="{F4FD8991-8F39-49BD-9C7D-757ECB55B248}" srcOrd="2" destOrd="0" presId="urn:microsoft.com/office/officeart/2018/2/layout/IconVerticalSolidList"/>
    <dgm:cxn modelId="{7DD78E76-A081-431D-8E9A-B8478FE7F962}" type="presParOf" srcId="{61838D10-C81B-4240-A29C-49D297847C6D}" destId="{0B3655DE-2B41-4B2A-B8E9-AA10BD1AF312}" srcOrd="3" destOrd="0" presId="urn:microsoft.com/office/officeart/2018/2/layout/IconVerticalSolidList"/>
    <dgm:cxn modelId="{51312A68-6167-4585-A2B7-EC2770D50B7C}" type="presParOf" srcId="{484997DF-E730-4DE7-9FAE-167B42349C7F}" destId="{029D7368-8AA6-4AB1-AE29-4E3409AD6B79}" srcOrd="3" destOrd="0" presId="urn:microsoft.com/office/officeart/2018/2/layout/IconVerticalSolidList"/>
    <dgm:cxn modelId="{A694BF14-B9F3-4811-BF44-53F1CC25A447}" type="presParOf" srcId="{484997DF-E730-4DE7-9FAE-167B42349C7F}" destId="{5D2391DE-4923-40EF-96F5-C57501CD939D}" srcOrd="4" destOrd="0" presId="urn:microsoft.com/office/officeart/2018/2/layout/IconVerticalSolidList"/>
    <dgm:cxn modelId="{B8713115-9A5A-44DC-9685-AB926FC0338B}" type="presParOf" srcId="{5D2391DE-4923-40EF-96F5-C57501CD939D}" destId="{7F8DE6F6-1984-4D82-B658-63206CF29D78}" srcOrd="0" destOrd="0" presId="urn:microsoft.com/office/officeart/2018/2/layout/IconVerticalSolidList"/>
    <dgm:cxn modelId="{6CCC0BE4-3D86-4D9F-9043-37F2E56BD36A}" type="presParOf" srcId="{5D2391DE-4923-40EF-96F5-C57501CD939D}" destId="{A8EC710F-0B51-4A17-AD94-67B1C3FC8FFC}" srcOrd="1" destOrd="0" presId="urn:microsoft.com/office/officeart/2018/2/layout/IconVerticalSolidList"/>
    <dgm:cxn modelId="{C225D406-9417-4A2E-914B-AC8A3367693E}" type="presParOf" srcId="{5D2391DE-4923-40EF-96F5-C57501CD939D}" destId="{CF0AB65B-35C4-4EC1-B9EA-30319DEAF799}" srcOrd="2" destOrd="0" presId="urn:microsoft.com/office/officeart/2018/2/layout/IconVerticalSolidList"/>
    <dgm:cxn modelId="{8EBCF4E8-CED4-400E-BCD0-D5F0C0FD7DA1}" type="presParOf" srcId="{5D2391DE-4923-40EF-96F5-C57501CD939D}" destId="{76399C12-0ED0-4138-BB1B-AB5B2BB81530}"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212BD3D-269F-4F41-BDE3-67E4E72BE7F3}"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D4473434-A371-4C8A-ACF2-564437CFDB7A}">
      <dgm:prSet/>
      <dgm:spPr/>
      <dgm:t>
        <a:bodyPr/>
        <a:lstStyle/>
        <a:p>
          <a:r>
            <a:rPr lang="en-US"/>
            <a:t>EOF special project budget includes items to be purchased and/or services to be contracted for and calculations used.</a:t>
          </a:r>
        </a:p>
      </dgm:t>
    </dgm:pt>
    <dgm:pt modelId="{E301ED93-23F6-442B-9082-FB08AD306C88}" type="parTrans" cxnId="{4B338D53-166E-404A-8D45-9AA2879E7688}">
      <dgm:prSet/>
      <dgm:spPr/>
      <dgm:t>
        <a:bodyPr/>
        <a:lstStyle/>
        <a:p>
          <a:endParaRPr lang="en-US"/>
        </a:p>
      </dgm:t>
    </dgm:pt>
    <dgm:pt modelId="{8BBEC67F-49BA-4AF4-A92D-AE19F20E540C}" type="sibTrans" cxnId="{4B338D53-166E-404A-8D45-9AA2879E7688}">
      <dgm:prSet/>
      <dgm:spPr/>
      <dgm:t>
        <a:bodyPr/>
        <a:lstStyle/>
        <a:p>
          <a:endParaRPr lang="en-US"/>
        </a:p>
      </dgm:t>
    </dgm:pt>
    <dgm:pt modelId="{EF3DB822-290C-4A56-8539-4A618161118F}">
      <dgm:prSet/>
      <dgm:spPr/>
      <dgm:t>
        <a:bodyPr/>
        <a:lstStyle/>
        <a:p>
          <a:r>
            <a:rPr lang="en-US"/>
            <a:t>Programs that are selected must ensure that all activities are completed and funds are encumbered by June 30th, 2025. </a:t>
          </a:r>
        </a:p>
      </dgm:t>
    </dgm:pt>
    <dgm:pt modelId="{5300570C-3220-43B3-A70D-9F026089AF71}" type="parTrans" cxnId="{161650C2-D83C-448C-9C5C-85389E33DD82}">
      <dgm:prSet/>
      <dgm:spPr/>
      <dgm:t>
        <a:bodyPr/>
        <a:lstStyle/>
        <a:p>
          <a:endParaRPr lang="en-US"/>
        </a:p>
      </dgm:t>
    </dgm:pt>
    <dgm:pt modelId="{6EA4B464-D4F7-46EE-9291-46236EC32B57}" type="sibTrans" cxnId="{161650C2-D83C-448C-9C5C-85389E33DD82}">
      <dgm:prSet/>
      <dgm:spPr/>
      <dgm:t>
        <a:bodyPr/>
        <a:lstStyle/>
        <a:p>
          <a:endParaRPr lang="en-US"/>
        </a:p>
      </dgm:t>
    </dgm:pt>
    <dgm:pt modelId="{9E7ED77D-6F6E-4BDB-8BDC-0AE049C735CD}">
      <dgm:prSet/>
      <dgm:spPr/>
      <dgm:t>
        <a:bodyPr/>
        <a:lstStyle/>
        <a:p>
          <a:r>
            <a:rPr lang="en-US" b="0">
              <a:latin typeface="Calibri Light"/>
            </a:rPr>
            <a:t>EOF</a:t>
          </a:r>
          <a:r>
            <a:rPr lang="en-US"/>
            <a:t> special project funds should only be used for initiatives that impact current or prospective EOF students.</a:t>
          </a:r>
        </a:p>
      </dgm:t>
    </dgm:pt>
    <dgm:pt modelId="{414A4F6E-08C2-416B-8857-8324259B561E}" type="parTrans" cxnId="{4D5E858D-A614-4B42-861B-AC8224EB10BE}">
      <dgm:prSet/>
      <dgm:spPr/>
      <dgm:t>
        <a:bodyPr/>
        <a:lstStyle/>
        <a:p>
          <a:endParaRPr lang="en-US"/>
        </a:p>
      </dgm:t>
    </dgm:pt>
    <dgm:pt modelId="{98AB8089-FF61-4ED0-8B14-838450F2F703}" type="sibTrans" cxnId="{4D5E858D-A614-4B42-861B-AC8224EB10BE}">
      <dgm:prSet/>
      <dgm:spPr/>
      <dgm:t>
        <a:bodyPr/>
        <a:lstStyle/>
        <a:p>
          <a:endParaRPr lang="en-US"/>
        </a:p>
      </dgm:t>
    </dgm:pt>
    <dgm:pt modelId="{2A11F8AA-7D71-43DE-985F-54B4C838049C}" type="pres">
      <dgm:prSet presAssocID="{C212BD3D-269F-4F41-BDE3-67E4E72BE7F3}" presName="linear" presStyleCnt="0">
        <dgm:presLayoutVars>
          <dgm:animLvl val="lvl"/>
          <dgm:resizeHandles val="exact"/>
        </dgm:presLayoutVars>
      </dgm:prSet>
      <dgm:spPr/>
    </dgm:pt>
    <dgm:pt modelId="{B5259377-541F-4846-A1DC-D4C611910EA8}" type="pres">
      <dgm:prSet presAssocID="{D4473434-A371-4C8A-ACF2-564437CFDB7A}" presName="parentText" presStyleLbl="node1" presStyleIdx="0" presStyleCnt="3">
        <dgm:presLayoutVars>
          <dgm:chMax val="0"/>
          <dgm:bulletEnabled val="1"/>
        </dgm:presLayoutVars>
      </dgm:prSet>
      <dgm:spPr/>
    </dgm:pt>
    <dgm:pt modelId="{C7B07898-736C-42EC-BBFC-D683AFF304A0}" type="pres">
      <dgm:prSet presAssocID="{8BBEC67F-49BA-4AF4-A92D-AE19F20E540C}" presName="spacer" presStyleCnt="0"/>
      <dgm:spPr/>
    </dgm:pt>
    <dgm:pt modelId="{C732C033-8907-4E8B-8D62-6740A5EF192B}" type="pres">
      <dgm:prSet presAssocID="{EF3DB822-290C-4A56-8539-4A618161118F}" presName="parentText" presStyleLbl="node1" presStyleIdx="1" presStyleCnt="3">
        <dgm:presLayoutVars>
          <dgm:chMax val="0"/>
          <dgm:bulletEnabled val="1"/>
        </dgm:presLayoutVars>
      </dgm:prSet>
      <dgm:spPr/>
    </dgm:pt>
    <dgm:pt modelId="{90206EA3-3E9D-4F41-AA25-C6BBB6983725}" type="pres">
      <dgm:prSet presAssocID="{6EA4B464-D4F7-46EE-9291-46236EC32B57}" presName="spacer" presStyleCnt="0"/>
      <dgm:spPr/>
    </dgm:pt>
    <dgm:pt modelId="{5311CBEF-CB67-42F7-8FB6-2F1D154719EA}" type="pres">
      <dgm:prSet presAssocID="{9E7ED77D-6F6E-4BDB-8BDC-0AE049C735CD}" presName="parentText" presStyleLbl="node1" presStyleIdx="2" presStyleCnt="3">
        <dgm:presLayoutVars>
          <dgm:chMax val="0"/>
          <dgm:bulletEnabled val="1"/>
        </dgm:presLayoutVars>
      </dgm:prSet>
      <dgm:spPr/>
    </dgm:pt>
  </dgm:ptLst>
  <dgm:cxnLst>
    <dgm:cxn modelId="{0B94AD18-35F1-488B-8420-0450778B817B}" type="presOf" srcId="{9E7ED77D-6F6E-4BDB-8BDC-0AE049C735CD}" destId="{5311CBEF-CB67-42F7-8FB6-2F1D154719EA}" srcOrd="0" destOrd="0" presId="urn:microsoft.com/office/officeart/2005/8/layout/vList2"/>
    <dgm:cxn modelId="{35ACB424-0843-425D-85C8-3C80674B70CF}" type="presOf" srcId="{EF3DB822-290C-4A56-8539-4A618161118F}" destId="{C732C033-8907-4E8B-8D62-6740A5EF192B}" srcOrd="0" destOrd="0" presId="urn:microsoft.com/office/officeart/2005/8/layout/vList2"/>
    <dgm:cxn modelId="{ADB72340-63B5-4F86-B297-01AC3979731C}" type="presOf" srcId="{D4473434-A371-4C8A-ACF2-564437CFDB7A}" destId="{B5259377-541F-4846-A1DC-D4C611910EA8}" srcOrd="0" destOrd="0" presId="urn:microsoft.com/office/officeart/2005/8/layout/vList2"/>
    <dgm:cxn modelId="{4B338D53-166E-404A-8D45-9AA2879E7688}" srcId="{C212BD3D-269F-4F41-BDE3-67E4E72BE7F3}" destId="{D4473434-A371-4C8A-ACF2-564437CFDB7A}" srcOrd="0" destOrd="0" parTransId="{E301ED93-23F6-442B-9082-FB08AD306C88}" sibTransId="{8BBEC67F-49BA-4AF4-A92D-AE19F20E540C}"/>
    <dgm:cxn modelId="{4D5E858D-A614-4B42-861B-AC8224EB10BE}" srcId="{C212BD3D-269F-4F41-BDE3-67E4E72BE7F3}" destId="{9E7ED77D-6F6E-4BDB-8BDC-0AE049C735CD}" srcOrd="2" destOrd="0" parTransId="{414A4F6E-08C2-416B-8857-8324259B561E}" sibTransId="{98AB8089-FF61-4ED0-8B14-838450F2F703}"/>
    <dgm:cxn modelId="{1B8E4BA6-62E8-40AB-9CF8-1E246C176858}" type="presOf" srcId="{C212BD3D-269F-4F41-BDE3-67E4E72BE7F3}" destId="{2A11F8AA-7D71-43DE-985F-54B4C838049C}" srcOrd="0" destOrd="0" presId="urn:microsoft.com/office/officeart/2005/8/layout/vList2"/>
    <dgm:cxn modelId="{161650C2-D83C-448C-9C5C-85389E33DD82}" srcId="{C212BD3D-269F-4F41-BDE3-67E4E72BE7F3}" destId="{EF3DB822-290C-4A56-8539-4A618161118F}" srcOrd="1" destOrd="0" parTransId="{5300570C-3220-43B3-A70D-9F026089AF71}" sibTransId="{6EA4B464-D4F7-46EE-9291-46236EC32B57}"/>
    <dgm:cxn modelId="{E4253AD4-84D2-4D5D-8CCD-2351D38F2623}" type="presParOf" srcId="{2A11F8AA-7D71-43DE-985F-54B4C838049C}" destId="{B5259377-541F-4846-A1DC-D4C611910EA8}" srcOrd="0" destOrd="0" presId="urn:microsoft.com/office/officeart/2005/8/layout/vList2"/>
    <dgm:cxn modelId="{514A4DF8-CDC6-44D5-8DCA-2CC2EE0DC7AF}" type="presParOf" srcId="{2A11F8AA-7D71-43DE-985F-54B4C838049C}" destId="{C7B07898-736C-42EC-BBFC-D683AFF304A0}" srcOrd="1" destOrd="0" presId="urn:microsoft.com/office/officeart/2005/8/layout/vList2"/>
    <dgm:cxn modelId="{998C6D10-A6E6-4DA4-BF02-5D168D6AFB76}" type="presParOf" srcId="{2A11F8AA-7D71-43DE-985F-54B4C838049C}" destId="{C732C033-8907-4E8B-8D62-6740A5EF192B}" srcOrd="2" destOrd="0" presId="urn:microsoft.com/office/officeart/2005/8/layout/vList2"/>
    <dgm:cxn modelId="{BFC0A7BB-153C-472F-8188-E9D531756456}" type="presParOf" srcId="{2A11F8AA-7D71-43DE-985F-54B4C838049C}" destId="{90206EA3-3E9D-4F41-AA25-C6BBB6983725}" srcOrd="3" destOrd="0" presId="urn:microsoft.com/office/officeart/2005/8/layout/vList2"/>
    <dgm:cxn modelId="{17F2A629-BA4F-4510-AF58-95A6D2F92C51}" type="presParOf" srcId="{2A11F8AA-7D71-43DE-985F-54B4C838049C}" destId="{5311CBEF-CB67-42F7-8FB6-2F1D154719EA}"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F38CFDD-9869-4045-A4F6-0A21D947DEF0}" type="doc">
      <dgm:prSet loTypeId="urn:microsoft.com/office/officeart/2018/2/layout/IconLabelDescriptionList" loCatId="icon" qsTypeId="urn:microsoft.com/office/officeart/2005/8/quickstyle/simple1" qsCatId="simple" csTypeId="urn:microsoft.com/office/officeart/2018/5/colors/Iconchunking_neutralbg_colorful1" csCatId="colorful" phldr="1"/>
      <dgm:spPr/>
      <dgm:t>
        <a:bodyPr/>
        <a:lstStyle/>
        <a:p>
          <a:endParaRPr lang="en-US"/>
        </a:p>
      </dgm:t>
    </dgm:pt>
    <dgm:pt modelId="{6B58069C-A00A-4C18-96BC-31753F2C3239}">
      <dgm:prSet/>
      <dgm:spPr/>
      <dgm:t>
        <a:bodyPr/>
        <a:lstStyle/>
        <a:p>
          <a:pPr>
            <a:defRPr b="1"/>
          </a:pPr>
          <a:r>
            <a:rPr lang="en-US"/>
            <a:t>Changes to your original, approved budget require prior written approval from OSHE/EOF Central Office Staff.</a:t>
          </a:r>
        </a:p>
      </dgm:t>
    </dgm:pt>
    <dgm:pt modelId="{83726F6E-7B10-430E-927E-0475214ABA72}" type="parTrans" cxnId="{1E4EFBE5-8294-4F95-8B81-492A2648BCD8}">
      <dgm:prSet/>
      <dgm:spPr/>
      <dgm:t>
        <a:bodyPr/>
        <a:lstStyle/>
        <a:p>
          <a:endParaRPr lang="en-US"/>
        </a:p>
      </dgm:t>
    </dgm:pt>
    <dgm:pt modelId="{23F8D05A-DE2B-4180-B5FF-4944AC4CAB0E}" type="sibTrans" cxnId="{1E4EFBE5-8294-4F95-8B81-492A2648BCD8}">
      <dgm:prSet/>
      <dgm:spPr/>
      <dgm:t>
        <a:bodyPr/>
        <a:lstStyle/>
        <a:p>
          <a:endParaRPr lang="en-US"/>
        </a:p>
      </dgm:t>
    </dgm:pt>
    <dgm:pt modelId="{9C8C4D39-1075-42A2-A1A8-FB297056E1C1}">
      <dgm:prSet/>
      <dgm:spPr/>
      <dgm:t>
        <a:bodyPr/>
        <a:lstStyle/>
        <a:p>
          <a:r>
            <a:rPr lang="en-US"/>
            <a:t>This includes modifications between categories (i.e. moving money from the budgeted line for staff salaries to the line for Educational Materials and Supplies) as well as new items that were not part of the original fiscal year contract.</a:t>
          </a:r>
        </a:p>
      </dgm:t>
    </dgm:pt>
    <dgm:pt modelId="{EC5C0F2E-5B73-404F-8590-3E00A79B4F25}" type="parTrans" cxnId="{FF34A11B-EAD7-4E01-ADC1-E69A23996A5C}">
      <dgm:prSet/>
      <dgm:spPr/>
      <dgm:t>
        <a:bodyPr/>
        <a:lstStyle/>
        <a:p>
          <a:endParaRPr lang="en-US"/>
        </a:p>
      </dgm:t>
    </dgm:pt>
    <dgm:pt modelId="{5D90B73B-96C4-41AB-92C7-BA5375970234}" type="sibTrans" cxnId="{FF34A11B-EAD7-4E01-ADC1-E69A23996A5C}">
      <dgm:prSet/>
      <dgm:spPr/>
      <dgm:t>
        <a:bodyPr/>
        <a:lstStyle/>
        <a:p>
          <a:endParaRPr lang="en-US"/>
        </a:p>
      </dgm:t>
    </dgm:pt>
    <dgm:pt modelId="{78A69560-ACFF-4816-87C1-082A0E007471}">
      <dgm:prSet/>
      <dgm:spPr/>
      <dgm:t>
        <a:bodyPr/>
        <a:lstStyle/>
        <a:p>
          <a:r>
            <a:rPr lang="en-US" b="1" i="1"/>
            <a:t>Budget Modifications within the same category without requesting approval is allowed</a:t>
          </a:r>
          <a:r>
            <a:rPr lang="en-US"/>
            <a:t>. </a:t>
          </a:r>
        </a:p>
      </dgm:t>
    </dgm:pt>
    <dgm:pt modelId="{9C3A755C-F7FE-43D0-BC1A-89463506457C}" type="parTrans" cxnId="{49D6F930-AF13-42AC-8053-23B9021DE688}">
      <dgm:prSet/>
      <dgm:spPr/>
      <dgm:t>
        <a:bodyPr/>
        <a:lstStyle/>
        <a:p>
          <a:endParaRPr lang="en-US"/>
        </a:p>
      </dgm:t>
    </dgm:pt>
    <dgm:pt modelId="{4EF04FB7-05E8-4915-B2C9-C41295DC300E}" type="sibTrans" cxnId="{49D6F930-AF13-42AC-8053-23B9021DE688}">
      <dgm:prSet/>
      <dgm:spPr/>
      <dgm:t>
        <a:bodyPr/>
        <a:lstStyle/>
        <a:p>
          <a:endParaRPr lang="en-US"/>
        </a:p>
      </dgm:t>
    </dgm:pt>
    <dgm:pt modelId="{67B316F5-B8C9-4CDF-A620-51A58B95AA3E}">
      <dgm:prSet/>
      <dgm:spPr/>
      <dgm:t>
        <a:bodyPr/>
        <a:lstStyle/>
        <a:p>
          <a:pPr>
            <a:defRPr b="1"/>
          </a:pPr>
          <a:r>
            <a:rPr lang="en-US"/>
            <a:t>Budget modifications must be submitted via email to your program liaison with the following information:</a:t>
          </a:r>
        </a:p>
      </dgm:t>
    </dgm:pt>
    <dgm:pt modelId="{F06A5BF2-1703-428F-8061-119EF160D09A}" type="parTrans" cxnId="{E7685E73-07ED-4930-99E1-EDFCCA21CED0}">
      <dgm:prSet/>
      <dgm:spPr/>
      <dgm:t>
        <a:bodyPr/>
        <a:lstStyle/>
        <a:p>
          <a:endParaRPr lang="en-US"/>
        </a:p>
      </dgm:t>
    </dgm:pt>
    <dgm:pt modelId="{4FEDB491-65FD-4A4F-9263-FC86DECE8246}" type="sibTrans" cxnId="{E7685E73-07ED-4930-99E1-EDFCCA21CED0}">
      <dgm:prSet/>
      <dgm:spPr/>
      <dgm:t>
        <a:bodyPr/>
        <a:lstStyle/>
        <a:p>
          <a:endParaRPr lang="en-US"/>
        </a:p>
      </dgm:t>
    </dgm:pt>
    <dgm:pt modelId="{4CF2995F-A3CA-418A-AD94-18174F8274B3}">
      <dgm:prSet/>
      <dgm:spPr/>
      <dgm:t>
        <a:bodyPr/>
        <a:lstStyle/>
        <a:p>
          <a:r>
            <a:rPr lang="en-US"/>
            <a:t>Moving Funds from (identify category, row #, item) </a:t>
          </a:r>
        </a:p>
      </dgm:t>
    </dgm:pt>
    <dgm:pt modelId="{A67A1762-A3E3-469E-93AB-793EE7A53430}" type="parTrans" cxnId="{07A85F6B-E7A7-44D6-BF7C-DD6EA9902526}">
      <dgm:prSet/>
      <dgm:spPr/>
      <dgm:t>
        <a:bodyPr/>
        <a:lstStyle/>
        <a:p>
          <a:endParaRPr lang="en-US"/>
        </a:p>
      </dgm:t>
    </dgm:pt>
    <dgm:pt modelId="{86A980A3-BC6D-43F1-8538-B80D2A997D33}" type="sibTrans" cxnId="{07A85F6B-E7A7-44D6-BF7C-DD6EA9902526}">
      <dgm:prSet/>
      <dgm:spPr/>
      <dgm:t>
        <a:bodyPr/>
        <a:lstStyle/>
        <a:p>
          <a:endParaRPr lang="en-US"/>
        </a:p>
      </dgm:t>
    </dgm:pt>
    <dgm:pt modelId="{CE591CDD-8935-481B-A191-5B1E29075927}">
      <dgm:prSet/>
      <dgm:spPr/>
      <dgm:t>
        <a:bodyPr/>
        <a:lstStyle/>
        <a:p>
          <a:r>
            <a:rPr lang="en-US"/>
            <a:t>Moving Funds to (identify category, row #, item) </a:t>
          </a:r>
        </a:p>
      </dgm:t>
    </dgm:pt>
    <dgm:pt modelId="{024487DA-89AC-417B-861F-5B39F0CB713F}" type="parTrans" cxnId="{08229100-0E0E-4888-A7EE-B579D63E0803}">
      <dgm:prSet/>
      <dgm:spPr/>
      <dgm:t>
        <a:bodyPr/>
        <a:lstStyle/>
        <a:p>
          <a:endParaRPr lang="en-US"/>
        </a:p>
      </dgm:t>
    </dgm:pt>
    <dgm:pt modelId="{40FEF345-B2BC-4B40-9CB2-0095C5C59E19}" type="sibTrans" cxnId="{08229100-0E0E-4888-A7EE-B579D63E0803}">
      <dgm:prSet/>
      <dgm:spPr/>
      <dgm:t>
        <a:bodyPr/>
        <a:lstStyle/>
        <a:p>
          <a:endParaRPr lang="en-US"/>
        </a:p>
      </dgm:t>
    </dgm:pt>
    <dgm:pt modelId="{99CF8F17-6570-4EF8-966B-D6EC8AB42DEF}">
      <dgm:prSet/>
      <dgm:spPr/>
      <dgm:t>
        <a:bodyPr/>
        <a:lstStyle/>
        <a:p>
          <a:r>
            <a:rPr lang="en-US"/>
            <a:t>Amount/Change </a:t>
          </a:r>
        </a:p>
      </dgm:t>
    </dgm:pt>
    <dgm:pt modelId="{A80B0A26-E212-4324-B0F7-4B7BDBB88E58}" type="parTrans" cxnId="{7D36E4F8-4309-457A-85DE-CD25D16842AC}">
      <dgm:prSet/>
      <dgm:spPr/>
      <dgm:t>
        <a:bodyPr/>
        <a:lstStyle/>
        <a:p>
          <a:endParaRPr lang="en-US"/>
        </a:p>
      </dgm:t>
    </dgm:pt>
    <dgm:pt modelId="{4E43E98C-8F25-466B-83AF-B341C671045E}" type="sibTrans" cxnId="{7D36E4F8-4309-457A-85DE-CD25D16842AC}">
      <dgm:prSet/>
      <dgm:spPr/>
      <dgm:t>
        <a:bodyPr/>
        <a:lstStyle/>
        <a:p>
          <a:endParaRPr lang="en-US"/>
        </a:p>
      </dgm:t>
    </dgm:pt>
    <dgm:pt modelId="{A4A46D85-A73F-4B1C-9E08-6B33B2BFEBCE}">
      <dgm:prSet/>
      <dgm:spPr/>
      <dgm:t>
        <a:bodyPr/>
        <a:lstStyle/>
        <a:p>
          <a:r>
            <a:rPr lang="en-US"/>
            <a:t>Rationale </a:t>
          </a:r>
        </a:p>
      </dgm:t>
    </dgm:pt>
    <dgm:pt modelId="{1B8E3870-23B4-4E95-BA69-FF0BE59A35FA}" type="parTrans" cxnId="{17EF6914-4224-4557-8FEC-316A8E391732}">
      <dgm:prSet/>
      <dgm:spPr/>
      <dgm:t>
        <a:bodyPr/>
        <a:lstStyle/>
        <a:p>
          <a:endParaRPr lang="en-US"/>
        </a:p>
      </dgm:t>
    </dgm:pt>
    <dgm:pt modelId="{312F4D7B-8A2F-4339-BE59-DF96F8287AEE}" type="sibTrans" cxnId="{17EF6914-4224-4557-8FEC-316A8E391732}">
      <dgm:prSet/>
      <dgm:spPr/>
      <dgm:t>
        <a:bodyPr/>
        <a:lstStyle/>
        <a:p>
          <a:endParaRPr lang="en-US"/>
        </a:p>
      </dgm:t>
    </dgm:pt>
    <dgm:pt modelId="{3D0C424C-073D-46BD-991D-FAF9F345E863}" type="pres">
      <dgm:prSet presAssocID="{CF38CFDD-9869-4045-A4F6-0A21D947DEF0}" presName="root" presStyleCnt="0">
        <dgm:presLayoutVars>
          <dgm:dir/>
          <dgm:resizeHandles val="exact"/>
        </dgm:presLayoutVars>
      </dgm:prSet>
      <dgm:spPr/>
    </dgm:pt>
    <dgm:pt modelId="{4686121F-9910-4AB4-BD56-4881CF45836F}" type="pres">
      <dgm:prSet presAssocID="{6B58069C-A00A-4C18-96BC-31753F2C3239}" presName="compNode" presStyleCnt="0"/>
      <dgm:spPr/>
    </dgm:pt>
    <dgm:pt modelId="{BC538290-9612-4BD4-9BDA-243C396DBAAC}" type="pres">
      <dgm:prSet presAssocID="{6B58069C-A00A-4C18-96BC-31753F2C3239}"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ckmark"/>
        </a:ext>
      </dgm:extLst>
    </dgm:pt>
    <dgm:pt modelId="{11612044-5A8A-4393-AF65-B61D5B08752D}" type="pres">
      <dgm:prSet presAssocID="{6B58069C-A00A-4C18-96BC-31753F2C3239}" presName="iconSpace" presStyleCnt="0"/>
      <dgm:spPr/>
    </dgm:pt>
    <dgm:pt modelId="{1A3AD43E-A8CB-4BA9-81A9-AB0C2FE2F5E8}" type="pres">
      <dgm:prSet presAssocID="{6B58069C-A00A-4C18-96BC-31753F2C3239}" presName="parTx" presStyleLbl="revTx" presStyleIdx="0" presStyleCnt="4">
        <dgm:presLayoutVars>
          <dgm:chMax val="0"/>
          <dgm:chPref val="0"/>
        </dgm:presLayoutVars>
      </dgm:prSet>
      <dgm:spPr/>
    </dgm:pt>
    <dgm:pt modelId="{BE3D5A57-9FBC-4D9B-9FFB-15CAFD1F07B0}" type="pres">
      <dgm:prSet presAssocID="{6B58069C-A00A-4C18-96BC-31753F2C3239}" presName="txSpace" presStyleCnt="0"/>
      <dgm:spPr/>
    </dgm:pt>
    <dgm:pt modelId="{5F2BAD4B-04D0-4CE2-AACF-7D1A57674FA8}" type="pres">
      <dgm:prSet presAssocID="{6B58069C-A00A-4C18-96BC-31753F2C3239}" presName="desTx" presStyleLbl="revTx" presStyleIdx="1" presStyleCnt="4">
        <dgm:presLayoutVars/>
      </dgm:prSet>
      <dgm:spPr/>
    </dgm:pt>
    <dgm:pt modelId="{A90E5D41-C21A-4752-9229-771046ADFB8D}" type="pres">
      <dgm:prSet presAssocID="{23F8D05A-DE2B-4180-B5FF-4944AC4CAB0E}" presName="sibTrans" presStyleCnt="0"/>
      <dgm:spPr/>
    </dgm:pt>
    <dgm:pt modelId="{CDF5E3B7-7C48-46FF-8E3B-C00C9D4BB66B}" type="pres">
      <dgm:prSet presAssocID="{67B316F5-B8C9-4CDF-A620-51A58B95AA3E}" presName="compNode" presStyleCnt="0"/>
      <dgm:spPr/>
    </dgm:pt>
    <dgm:pt modelId="{BD2CEBE4-0F07-440C-A4C5-DA17DA26D981}" type="pres">
      <dgm:prSet presAssocID="{67B316F5-B8C9-4CDF-A620-51A58B95AA3E}"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Envelope"/>
        </a:ext>
      </dgm:extLst>
    </dgm:pt>
    <dgm:pt modelId="{FB8C42A8-83B6-489B-B9E0-4FFDE4A0EA39}" type="pres">
      <dgm:prSet presAssocID="{67B316F5-B8C9-4CDF-A620-51A58B95AA3E}" presName="iconSpace" presStyleCnt="0"/>
      <dgm:spPr/>
    </dgm:pt>
    <dgm:pt modelId="{56E0F57F-2904-42B6-909D-659F7424AA0A}" type="pres">
      <dgm:prSet presAssocID="{67B316F5-B8C9-4CDF-A620-51A58B95AA3E}" presName="parTx" presStyleLbl="revTx" presStyleIdx="2" presStyleCnt="4">
        <dgm:presLayoutVars>
          <dgm:chMax val="0"/>
          <dgm:chPref val="0"/>
        </dgm:presLayoutVars>
      </dgm:prSet>
      <dgm:spPr/>
    </dgm:pt>
    <dgm:pt modelId="{4373886C-6487-4AB8-AC3E-69CBA145C88D}" type="pres">
      <dgm:prSet presAssocID="{67B316F5-B8C9-4CDF-A620-51A58B95AA3E}" presName="txSpace" presStyleCnt="0"/>
      <dgm:spPr/>
    </dgm:pt>
    <dgm:pt modelId="{EE9CC268-61EC-4DEE-B86C-CB60830C24FD}" type="pres">
      <dgm:prSet presAssocID="{67B316F5-B8C9-4CDF-A620-51A58B95AA3E}" presName="desTx" presStyleLbl="revTx" presStyleIdx="3" presStyleCnt="4">
        <dgm:presLayoutVars/>
      </dgm:prSet>
      <dgm:spPr/>
    </dgm:pt>
  </dgm:ptLst>
  <dgm:cxnLst>
    <dgm:cxn modelId="{08229100-0E0E-4888-A7EE-B579D63E0803}" srcId="{67B316F5-B8C9-4CDF-A620-51A58B95AA3E}" destId="{CE591CDD-8935-481B-A191-5B1E29075927}" srcOrd="1" destOrd="0" parTransId="{024487DA-89AC-417B-861F-5B39F0CB713F}" sibTransId="{40FEF345-B2BC-4B40-9CB2-0095C5C59E19}"/>
    <dgm:cxn modelId="{9363B80C-2BB3-4E8E-BFC6-548978B0DEBC}" type="presOf" srcId="{A4A46D85-A73F-4B1C-9E08-6B33B2BFEBCE}" destId="{EE9CC268-61EC-4DEE-B86C-CB60830C24FD}" srcOrd="0" destOrd="3" presId="urn:microsoft.com/office/officeart/2018/2/layout/IconLabelDescriptionList"/>
    <dgm:cxn modelId="{17EF6914-4224-4557-8FEC-316A8E391732}" srcId="{67B316F5-B8C9-4CDF-A620-51A58B95AA3E}" destId="{A4A46D85-A73F-4B1C-9E08-6B33B2BFEBCE}" srcOrd="3" destOrd="0" parTransId="{1B8E3870-23B4-4E95-BA69-FF0BE59A35FA}" sibTransId="{312F4D7B-8A2F-4339-BE59-DF96F8287AEE}"/>
    <dgm:cxn modelId="{FF34A11B-EAD7-4E01-ADC1-E69A23996A5C}" srcId="{6B58069C-A00A-4C18-96BC-31753F2C3239}" destId="{9C8C4D39-1075-42A2-A1A8-FB297056E1C1}" srcOrd="0" destOrd="0" parTransId="{EC5C0F2E-5B73-404F-8590-3E00A79B4F25}" sibTransId="{5D90B73B-96C4-41AB-92C7-BA5375970234}"/>
    <dgm:cxn modelId="{49D6F930-AF13-42AC-8053-23B9021DE688}" srcId="{6B58069C-A00A-4C18-96BC-31753F2C3239}" destId="{78A69560-ACFF-4816-87C1-082A0E007471}" srcOrd="1" destOrd="0" parTransId="{9C3A755C-F7FE-43D0-BC1A-89463506457C}" sibTransId="{4EF04FB7-05E8-4915-B2C9-C41295DC300E}"/>
    <dgm:cxn modelId="{F258C962-575C-4424-BC0A-DC46CC17B71A}" type="presOf" srcId="{78A69560-ACFF-4816-87C1-082A0E007471}" destId="{5F2BAD4B-04D0-4CE2-AACF-7D1A57674FA8}" srcOrd="0" destOrd="1" presId="urn:microsoft.com/office/officeart/2018/2/layout/IconLabelDescriptionList"/>
    <dgm:cxn modelId="{19D7F868-E333-447F-B103-860861A44BD8}" type="presOf" srcId="{CE591CDD-8935-481B-A191-5B1E29075927}" destId="{EE9CC268-61EC-4DEE-B86C-CB60830C24FD}" srcOrd="0" destOrd="1" presId="urn:microsoft.com/office/officeart/2018/2/layout/IconLabelDescriptionList"/>
    <dgm:cxn modelId="{07A85F6B-E7A7-44D6-BF7C-DD6EA9902526}" srcId="{67B316F5-B8C9-4CDF-A620-51A58B95AA3E}" destId="{4CF2995F-A3CA-418A-AD94-18174F8274B3}" srcOrd="0" destOrd="0" parTransId="{A67A1762-A3E3-469E-93AB-793EE7A53430}" sibTransId="{86A980A3-BC6D-43F1-8538-B80D2A997D33}"/>
    <dgm:cxn modelId="{8CC70A4D-6DB3-40C8-8F4E-427F63B722AB}" type="presOf" srcId="{CF38CFDD-9869-4045-A4F6-0A21D947DEF0}" destId="{3D0C424C-073D-46BD-991D-FAF9F345E863}" srcOrd="0" destOrd="0" presId="urn:microsoft.com/office/officeart/2018/2/layout/IconLabelDescriptionList"/>
    <dgm:cxn modelId="{BCE0B94F-2BA8-417E-BEF8-45CAA617C2FC}" type="presOf" srcId="{99CF8F17-6570-4EF8-966B-D6EC8AB42DEF}" destId="{EE9CC268-61EC-4DEE-B86C-CB60830C24FD}" srcOrd="0" destOrd="2" presId="urn:microsoft.com/office/officeart/2018/2/layout/IconLabelDescriptionList"/>
    <dgm:cxn modelId="{827B5B50-6B83-4019-A927-52A4B149B860}" type="presOf" srcId="{67B316F5-B8C9-4CDF-A620-51A58B95AA3E}" destId="{56E0F57F-2904-42B6-909D-659F7424AA0A}" srcOrd="0" destOrd="0" presId="urn:microsoft.com/office/officeart/2018/2/layout/IconLabelDescriptionList"/>
    <dgm:cxn modelId="{E7685E73-07ED-4930-99E1-EDFCCA21CED0}" srcId="{CF38CFDD-9869-4045-A4F6-0A21D947DEF0}" destId="{67B316F5-B8C9-4CDF-A620-51A58B95AA3E}" srcOrd="1" destOrd="0" parTransId="{F06A5BF2-1703-428F-8061-119EF160D09A}" sibTransId="{4FEDB491-65FD-4A4F-9263-FC86DECE8246}"/>
    <dgm:cxn modelId="{729DE0A7-38E0-435F-996A-CBA51BF817D2}" type="presOf" srcId="{4CF2995F-A3CA-418A-AD94-18174F8274B3}" destId="{EE9CC268-61EC-4DEE-B86C-CB60830C24FD}" srcOrd="0" destOrd="0" presId="urn:microsoft.com/office/officeart/2018/2/layout/IconLabelDescriptionList"/>
    <dgm:cxn modelId="{C00332BE-2FC6-4EC1-9E1D-A6FBC641043C}" type="presOf" srcId="{6B58069C-A00A-4C18-96BC-31753F2C3239}" destId="{1A3AD43E-A8CB-4BA9-81A9-AB0C2FE2F5E8}" srcOrd="0" destOrd="0" presId="urn:microsoft.com/office/officeart/2018/2/layout/IconLabelDescriptionList"/>
    <dgm:cxn modelId="{1E4EFBE5-8294-4F95-8B81-492A2648BCD8}" srcId="{CF38CFDD-9869-4045-A4F6-0A21D947DEF0}" destId="{6B58069C-A00A-4C18-96BC-31753F2C3239}" srcOrd="0" destOrd="0" parTransId="{83726F6E-7B10-430E-927E-0475214ABA72}" sibTransId="{23F8D05A-DE2B-4180-B5FF-4944AC4CAB0E}"/>
    <dgm:cxn modelId="{8C6847F3-BEF1-4200-9C72-D099FD55E1CA}" type="presOf" srcId="{9C8C4D39-1075-42A2-A1A8-FB297056E1C1}" destId="{5F2BAD4B-04D0-4CE2-AACF-7D1A57674FA8}" srcOrd="0" destOrd="0" presId="urn:microsoft.com/office/officeart/2018/2/layout/IconLabelDescriptionList"/>
    <dgm:cxn modelId="{7D36E4F8-4309-457A-85DE-CD25D16842AC}" srcId="{67B316F5-B8C9-4CDF-A620-51A58B95AA3E}" destId="{99CF8F17-6570-4EF8-966B-D6EC8AB42DEF}" srcOrd="2" destOrd="0" parTransId="{A80B0A26-E212-4324-B0F7-4B7BDBB88E58}" sibTransId="{4E43E98C-8F25-466B-83AF-B341C671045E}"/>
    <dgm:cxn modelId="{51D6E56F-84E8-4F3D-86D9-FD97A8B5514B}" type="presParOf" srcId="{3D0C424C-073D-46BD-991D-FAF9F345E863}" destId="{4686121F-9910-4AB4-BD56-4881CF45836F}" srcOrd="0" destOrd="0" presId="urn:microsoft.com/office/officeart/2018/2/layout/IconLabelDescriptionList"/>
    <dgm:cxn modelId="{D03BD742-E8DA-4950-A0A8-52A175116D64}" type="presParOf" srcId="{4686121F-9910-4AB4-BD56-4881CF45836F}" destId="{BC538290-9612-4BD4-9BDA-243C396DBAAC}" srcOrd="0" destOrd="0" presId="urn:microsoft.com/office/officeart/2018/2/layout/IconLabelDescriptionList"/>
    <dgm:cxn modelId="{29B99BE4-B633-4777-BE7C-B8CA28925771}" type="presParOf" srcId="{4686121F-9910-4AB4-BD56-4881CF45836F}" destId="{11612044-5A8A-4393-AF65-B61D5B08752D}" srcOrd="1" destOrd="0" presId="urn:microsoft.com/office/officeart/2018/2/layout/IconLabelDescriptionList"/>
    <dgm:cxn modelId="{07E9D8A9-0249-41B6-8A31-BF761C86211B}" type="presParOf" srcId="{4686121F-9910-4AB4-BD56-4881CF45836F}" destId="{1A3AD43E-A8CB-4BA9-81A9-AB0C2FE2F5E8}" srcOrd="2" destOrd="0" presId="urn:microsoft.com/office/officeart/2018/2/layout/IconLabelDescriptionList"/>
    <dgm:cxn modelId="{17A7E1AF-8766-4DBF-9C64-86EBCF2434AD}" type="presParOf" srcId="{4686121F-9910-4AB4-BD56-4881CF45836F}" destId="{BE3D5A57-9FBC-4D9B-9FFB-15CAFD1F07B0}" srcOrd="3" destOrd="0" presId="urn:microsoft.com/office/officeart/2018/2/layout/IconLabelDescriptionList"/>
    <dgm:cxn modelId="{E5F5B2A9-8D47-4C29-ABB5-F92BD783A030}" type="presParOf" srcId="{4686121F-9910-4AB4-BD56-4881CF45836F}" destId="{5F2BAD4B-04D0-4CE2-AACF-7D1A57674FA8}" srcOrd="4" destOrd="0" presId="urn:microsoft.com/office/officeart/2018/2/layout/IconLabelDescriptionList"/>
    <dgm:cxn modelId="{4E6ECD06-62EE-44E6-BFE9-42A9FA42273A}" type="presParOf" srcId="{3D0C424C-073D-46BD-991D-FAF9F345E863}" destId="{A90E5D41-C21A-4752-9229-771046ADFB8D}" srcOrd="1" destOrd="0" presId="urn:microsoft.com/office/officeart/2018/2/layout/IconLabelDescriptionList"/>
    <dgm:cxn modelId="{A9AC3311-BCC3-4EB6-B58B-6901CD388AC8}" type="presParOf" srcId="{3D0C424C-073D-46BD-991D-FAF9F345E863}" destId="{CDF5E3B7-7C48-46FF-8E3B-C00C9D4BB66B}" srcOrd="2" destOrd="0" presId="urn:microsoft.com/office/officeart/2018/2/layout/IconLabelDescriptionList"/>
    <dgm:cxn modelId="{6C7350B3-D495-4C24-9070-4C1BCCB3E9F7}" type="presParOf" srcId="{CDF5E3B7-7C48-46FF-8E3B-C00C9D4BB66B}" destId="{BD2CEBE4-0F07-440C-A4C5-DA17DA26D981}" srcOrd="0" destOrd="0" presId="urn:microsoft.com/office/officeart/2018/2/layout/IconLabelDescriptionList"/>
    <dgm:cxn modelId="{E1E5234E-E267-42D2-8307-65321228D22F}" type="presParOf" srcId="{CDF5E3B7-7C48-46FF-8E3B-C00C9D4BB66B}" destId="{FB8C42A8-83B6-489B-B9E0-4FFDE4A0EA39}" srcOrd="1" destOrd="0" presId="urn:microsoft.com/office/officeart/2018/2/layout/IconLabelDescriptionList"/>
    <dgm:cxn modelId="{5FD81661-959F-4075-A444-C4438598E485}" type="presParOf" srcId="{CDF5E3B7-7C48-46FF-8E3B-C00C9D4BB66B}" destId="{56E0F57F-2904-42B6-909D-659F7424AA0A}" srcOrd="2" destOrd="0" presId="urn:microsoft.com/office/officeart/2018/2/layout/IconLabelDescriptionList"/>
    <dgm:cxn modelId="{81BABE2B-C9C1-47F5-8FDB-4DDB33863055}" type="presParOf" srcId="{CDF5E3B7-7C48-46FF-8E3B-C00C9D4BB66B}" destId="{4373886C-6487-4AB8-AC3E-69CBA145C88D}" srcOrd="3" destOrd="0" presId="urn:microsoft.com/office/officeart/2018/2/layout/IconLabelDescriptionList"/>
    <dgm:cxn modelId="{B5198047-B03E-4CFA-9B88-E428F8E98888}" type="presParOf" srcId="{CDF5E3B7-7C48-46FF-8E3B-C00C9D4BB66B}" destId="{EE9CC268-61EC-4DEE-B86C-CB60830C24FD}" srcOrd="4" destOrd="0" presId="urn:microsoft.com/office/officeart/2018/2/layout/IconLabelDescription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7D801C3-1D82-4746-AFB5-E3D419AAA3EC}"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C526D071-E826-4A77-8602-7BDD8094A407}">
      <dgm:prSet/>
      <dgm:spPr/>
      <dgm:t>
        <a:bodyPr/>
        <a:lstStyle/>
        <a:p>
          <a:r>
            <a:rPr lang="en-US"/>
            <a:t>Funding for this initiative is being provided to support the approved special project.	</a:t>
          </a:r>
        </a:p>
      </dgm:t>
    </dgm:pt>
    <dgm:pt modelId="{EB4742A6-CDD4-4FE3-93BB-212E413A54D7}" type="parTrans" cxnId="{52830C09-400B-4110-A893-2ED7EB83B254}">
      <dgm:prSet/>
      <dgm:spPr/>
      <dgm:t>
        <a:bodyPr/>
        <a:lstStyle/>
        <a:p>
          <a:endParaRPr lang="en-US"/>
        </a:p>
      </dgm:t>
    </dgm:pt>
    <dgm:pt modelId="{354B04F8-4EAB-45F3-87C6-994ED3D0F9F7}" type="sibTrans" cxnId="{52830C09-400B-4110-A893-2ED7EB83B254}">
      <dgm:prSet/>
      <dgm:spPr/>
      <dgm:t>
        <a:bodyPr/>
        <a:lstStyle/>
        <a:p>
          <a:endParaRPr lang="en-US"/>
        </a:p>
      </dgm:t>
    </dgm:pt>
    <dgm:pt modelId="{34B57496-1C7E-4E08-B2C6-84C590FF5C43}">
      <dgm:prSet/>
      <dgm:spPr/>
      <dgm:t>
        <a:bodyPr/>
        <a:lstStyle/>
        <a:p>
          <a:r>
            <a:rPr lang="en-US"/>
            <a:t>The final expenditure report (C5 contract attachment) is included as an excel tab within the approved B4 special project budget. </a:t>
          </a:r>
        </a:p>
      </dgm:t>
    </dgm:pt>
    <dgm:pt modelId="{F22836B0-476B-48B7-B30B-6DB5CBB9EF93}" type="parTrans" cxnId="{44E4BCEE-9B4A-404F-8FB7-96750EDD8088}">
      <dgm:prSet/>
      <dgm:spPr/>
      <dgm:t>
        <a:bodyPr/>
        <a:lstStyle/>
        <a:p>
          <a:endParaRPr lang="en-US"/>
        </a:p>
      </dgm:t>
    </dgm:pt>
    <dgm:pt modelId="{A5881B28-E9FC-4D0B-8D32-52BFEBEB243B}" type="sibTrans" cxnId="{44E4BCEE-9B4A-404F-8FB7-96750EDD8088}">
      <dgm:prSet/>
      <dgm:spPr/>
      <dgm:t>
        <a:bodyPr/>
        <a:lstStyle/>
        <a:p>
          <a:endParaRPr lang="en-US"/>
        </a:p>
      </dgm:t>
    </dgm:pt>
    <dgm:pt modelId="{E436135B-2CF6-4250-848C-9D2B247B5419}">
      <dgm:prSet/>
      <dgm:spPr/>
      <dgm:t>
        <a:bodyPr/>
        <a:lstStyle/>
        <a:p>
          <a:r>
            <a:rPr lang="en-US"/>
            <a:t>When submitting the final expenditure report, please provide the results of the special projects </a:t>
          </a:r>
          <a:r>
            <a:rPr lang="en-US" b="1"/>
            <a:t>via a separate PowerPoint presentation</a:t>
          </a:r>
          <a:r>
            <a:rPr lang="en-US"/>
            <a:t>. It is our intent to share this information on our website for the benefit of our other EOF campus programs. </a:t>
          </a:r>
        </a:p>
      </dgm:t>
    </dgm:pt>
    <dgm:pt modelId="{87063A0A-3B08-4056-9827-A1F78384F5BD}" type="parTrans" cxnId="{9EC66ED8-9086-4335-8654-616B668A0B6E}">
      <dgm:prSet/>
      <dgm:spPr/>
      <dgm:t>
        <a:bodyPr/>
        <a:lstStyle/>
        <a:p>
          <a:endParaRPr lang="en-US"/>
        </a:p>
      </dgm:t>
    </dgm:pt>
    <dgm:pt modelId="{03A59021-AC70-4B6F-940A-8ADCD8842492}" type="sibTrans" cxnId="{9EC66ED8-9086-4335-8654-616B668A0B6E}">
      <dgm:prSet/>
      <dgm:spPr/>
      <dgm:t>
        <a:bodyPr/>
        <a:lstStyle/>
        <a:p>
          <a:endParaRPr lang="en-US"/>
        </a:p>
      </dgm:t>
    </dgm:pt>
    <dgm:pt modelId="{F44D5735-8D6B-4AF0-BE46-8FF3DF537620}">
      <dgm:prSet/>
      <dgm:spPr/>
      <dgm:t>
        <a:bodyPr/>
        <a:lstStyle/>
        <a:p>
          <a:r>
            <a:rPr lang="en-US"/>
            <a:t>Programs may be asked to present their respective presentation at a future EOF professional conference or EOF Board meeting. </a:t>
          </a:r>
        </a:p>
      </dgm:t>
    </dgm:pt>
    <dgm:pt modelId="{9A2FB06D-4E73-4A00-B39D-0D7590758658}" type="parTrans" cxnId="{4DB56DE3-BF94-4AC2-B179-80BC1D572934}">
      <dgm:prSet/>
      <dgm:spPr/>
      <dgm:t>
        <a:bodyPr/>
        <a:lstStyle/>
        <a:p>
          <a:endParaRPr lang="en-US"/>
        </a:p>
      </dgm:t>
    </dgm:pt>
    <dgm:pt modelId="{4506013F-F21C-40EE-B7CA-DAD54C385C3F}" type="sibTrans" cxnId="{4DB56DE3-BF94-4AC2-B179-80BC1D572934}">
      <dgm:prSet/>
      <dgm:spPr/>
      <dgm:t>
        <a:bodyPr/>
        <a:lstStyle/>
        <a:p>
          <a:endParaRPr lang="en-US"/>
        </a:p>
      </dgm:t>
    </dgm:pt>
    <dgm:pt modelId="{FA78B7AB-03F6-453F-A196-B8FC4A491C32}">
      <dgm:prSet/>
      <dgm:spPr/>
      <dgm:t>
        <a:bodyPr/>
        <a:lstStyle/>
        <a:p>
          <a:r>
            <a:rPr lang="en-US" b="1" i="1"/>
            <a:t>FINAL EXPENDITURE REPORT DEADLINE: </a:t>
          </a:r>
          <a:r>
            <a:rPr lang="en-US" b="1"/>
            <a:t> </a:t>
          </a:r>
          <a:r>
            <a:rPr lang="en-US" b="1" i="1"/>
            <a:t>August 15, 2025</a:t>
          </a:r>
          <a:endParaRPr lang="en-US"/>
        </a:p>
      </dgm:t>
    </dgm:pt>
    <dgm:pt modelId="{EF8B0836-E502-4DC6-92FF-5D1F481747BD}" type="parTrans" cxnId="{83570645-5A04-4300-A2F2-74231E13C810}">
      <dgm:prSet/>
      <dgm:spPr/>
      <dgm:t>
        <a:bodyPr/>
        <a:lstStyle/>
        <a:p>
          <a:endParaRPr lang="en-US"/>
        </a:p>
      </dgm:t>
    </dgm:pt>
    <dgm:pt modelId="{8A11050D-FCA3-40C4-8B35-36BF7230E620}" type="sibTrans" cxnId="{83570645-5A04-4300-A2F2-74231E13C810}">
      <dgm:prSet/>
      <dgm:spPr/>
      <dgm:t>
        <a:bodyPr/>
        <a:lstStyle/>
        <a:p>
          <a:endParaRPr lang="en-US"/>
        </a:p>
      </dgm:t>
    </dgm:pt>
    <dgm:pt modelId="{62123AD8-04F4-4882-BADA-532F875ABE94}" type="pres">
      <dgm:prSet presAssocID="{D7D801C3-1D82-4746-AFB5-E3D419AAA3EC}" presName="linear" presStyleCnt="0">
        <dgm:presLayoutVars>
          <dgm:animLvl val="lvl"/>
          <dgm:resizeHandles val="exact"/>
        </dgm:presLayoutVars>
      </dgm:prSet>
      <dgm:spPr/>
    </dgm:pt>
    <dgm:pt modelId="{7B4A8E7A-4415-4E38-BD28-B298B2114F64}" type="pres">
      <dgm:prSet presAssocID="{C526D071-E826-4A77-8602-7BDD8094A407}" presName="parentText" presStyleLbl="node1" presStyleIdx="0" presStyleCnt="5">
        <dgm:presLayoutVars>
          <dgm:chMax val="0"/>
          <dgm:bulletEnabled val="1"/>
        </dgm:presLayoutVars>
      </dgm:prSet>
      <dgm:spPr/>
    </dgm:pt>
    <dgm:pt modelId="{1BB7D488-DFB5-49A7-B92F-CA882058579A}" type="pres">
      <dgm:prSet presAssocID="{354B04F8-4EAB-45F3-87C6-994ED3D0F9F7}" presName="spacer" presStyleCnt="0"/>
      <dgm:spPr/>
    </dgm:pt>
    <dgm:pt modelId="{7A8A1E2A-8F2C-4CA7-95A8-34876EE88D4C}" type="pres">
      <dgm:prSet presAssocID="{34B57496-1C7E-4E08-B2C6-84C590FF5C43}" presName="parentText" presStyleLbl="node1" presStyleIdx="1" presStyleCnt="5">
        <dgm:presLayoutVars>
          <dgm:chMax val="0"/>
          <dgm:bulletEnabled val="1"/>
        </dgm:presLayoutVars>
      </dgm:prSet>
      <dgm:spPr/>
    </dgm:pt>
    <dgm:pt modelId="{0E8D37C8-331F-4C38-B907-6DB714EE51A3}" type="pres">
      <dgm:prSet presAssocID="{A5881B28-E9FC-4D0B-8D32-52BFEBEB243B}" presName="spacer" presStyleCnt="0"/>
      <dgm:spPr/>
    </dgm:pt>
    <dgm:pt modelId="{F80414F8-07E5-4F70-8391-409C2B777E36}" type="pres">
      <dgm:prSet presAssocID="{E436135B-2CF6-4250-848C-9D2B247B5419}" presName="parentText" presStyleLbl="node1" presStyleIdx="2" presStyleCnt="5">
        <dgm:presLayoutVars>
          <dgm:chMax val="0"/>
          <dgm:bulletEnabled val="1"/>
        </dgm:presLayoutVars>
      </dgm:prSet>
      <dgm:spPr/>
    </dgm:pt>
    <dgm:pt modelId="{E659AE29-2255-41DE-AEA9-31521AD1FE19}" type="pres">
      <dgm:prSet presAssocID="{03A59021-AC70-4B6F-940A-8ADCD8842492}" presName="spacer" presStyleCnt="0"/>
      <dgm:spPr/>
    </dgm:pt>
    <dgm:pt modelId="{96D734C8-8052-48DF-A20D-EE5E6F907C2B}" type="pres">
      <dgm:prSet presAssocID="{F44D5735-8D6B-4AF0-BE46-8FF3DF537620}" presName="parentText" presStyleLbl="node1" presStyleIdx="3" presStyleCnt="5">
        <dgm:presLayoutVars>
          <dgm:chMax val="0"/>
          <dgm:bulletEnabled val="1"/>
        </dgm:presLayoutVars>
      </dgm:prSet>
      <dgm:spPr/>
    </dgm:pt>
    <dgm:pt modelId="{234FC03C-59BE-4076-8120-F8D5FEA43626}" type="pres">
      <dgm:prSet presAssocID="{4506013F-F21C-40EE-B7CA-DAD54C385C3F}" presName="spacer" presStyleCnt="0"/>
      <dgm:spPr/>
    </dgm:pt>
    <dgm:pt modelId="{FF791F4D-3A78-4D7C-839F-AB9F4076A63B}" type="pres">
      <dgm:prSet presAssocID="{FA78B7AB-03F6-453F-A196-B8FC4A491C32}" presName="parentText" presStyleLbl="node1" presStyleIdx="4" presStyleCnt="5">
        <dgm:presLayoutVars>
          <dgm:chMax val="0"/>
          <dgm:bulletEnabled val="1"/>
        </dgm:presLayoutVars>
      </dgm:prSet>
      <dgm:spPr/>
    </dgm:pt>
  </dgm:ptLst>
  <dgm:cxnLst>
    <dgm:cxn modelId="{52830C09-400B-4110-A893-2ED7EB83B254}" srcId="{D7D801C3-1D82-4746-AFB5-E3D419AAA3EC}" destId="{C526D071-E826-4A77-8602-7BDD8094A407}" srcOrd="0" destOrd="0" parTransId="{EB4742A6-CDD4-4FE3-93BB-212E413A54D7}" sibTransId="{354B04F8-4EAB-45F3-87C6-994ED3D0F9F7}"/>
    <dgm:cxn modelId="{93491E0D-9642-45FC-BBD2-AA5260B8FE43}" type="presOf" srcId="{FA78B7AB-03F6-453F-A196-B8FC4A491C32}" destId="{FF791F4D-3A78-4D7C-839F-AB9F4076A63B}" srcOrd="0" destOrd="0" presId="urn:microsoft.com/office/officeart/2005/8/layout/vList2"/>
    <dgm:cxn modelId="{AA304319-703C-4663-A76F-BB2BA3DDE064}" type="presOf" srcId="{F44D5735-8D6B-4AF0-BE46-8FF3DF537620}" destId="{96D734C8-8052-48DF-A20D-EE5E6F907C2B}" srcOrd="0" destOrd="0" presId="urn:microsoft.com/office/officeart/2005/8/layout/vList2"/>
    <dgm:cxn modelId="{6CA6DF5D-B75F-40DA-BA6C-A53B0FACEA3E}" type="presOf" srcId="{D7D801C3-1D82-4746-AFB5-E3D419AAA3EC}" destId="{62123AD8-04F4-4882-BADA-532F875ABE94}" srcOrd="0" destOrd="0" presId="urn:microsoft.com/office/officeart/2005/8/layout/vList2"/>
    <dgm:cxn modelId="{83570645-5A04-4300-A2F2-74231E13C810}" srcId="{D7D801C3-1D82-4746-AFB5-E3D419AAA3EC}" destId="{FA78B7AB-03F6-453F-A196-B8FC4A491C32}" srcOrd="4" destOrd="0" parTransId="{EF8B0836-E502-4DC6-92FF-5D1F481747BD}" sibTransId="{8A11050D-FCA3-40C4-8B35-36BF7230E620}"/>
    <dgm:cxn modelId="{A529238B-D602-4B2B-8EFC-8AD71DD2A344}" type="presOf" srcId="{34B57496-1C7E-4E08-B2C6-84C590FF5C43}" destId="{7A8A1E2A-8F2C-4CA7-95A8-34876EE88D4C}" srcOrd="0" destOrd="0" presId="urn:microsoft.com/office/officeart/2005/8/layout/vList2"/>
    <dgm:cxn modelId="{E48AA9B6-9013-4DA0-A5AD-375BC5E2E056}" type="presOf" srcId="{E436135B-2CF6-4250-848C-9D2B247B5419}" destId="{F80414F8-07E5-4F70-8391-409C2B777E36}" srcOrd="0" destOrd="0" presId="urn:microsoft.com/office/officeart/2005/8/layout/vList2"/>
    <dgm:cxn modelId="{45FE90C6-B30F-4D4C-8B9C-4FB5E5104AF7}" type="presOf" srcId="{C526D071-E826-4A77-8602-7BDD8094A407}" destId="{7B4A8E7A-4415-4E38-BD28-B298B2114F64}" srcOrd="0" destOrd="0" presId="urn:microsoft.com/office/officeart/2005/8/layout/vList2"/>
    <dgm:cxn modelId="{9EC66ED8-9086-4335-8654-616B668A0B6E}" srcId="{D7D801C3-1D82-4746-AFB5-E3D419AAA3EC}" destId="{E436135B-2CF6-4250-848C-9D2B247B5419}" srcOrd="2" destOrd="0" parTransId="{87063A0A-3B08-4056-9827-A1F78384F5BD}" sibTransId="{03A59021-AC70-4B6F-940A-8ADCD8842492}"/>
    <dgm:cxn modelId="{4DB56DE3-BF94-4AC2-B179-80BC1D572934}" srcId="{D7D801C3-1D82-4746-AFB5-E3D419AAA3EC}" destId="{F44D5735-8D6B-4AF0-BE46-8FF3DF537620}" srcOrd="3" destOrd="0" parTransId="{9A2FB06D-4E73-4A00-B39D-0D7590758658}" sibTransId="{4506013F-F21C-40EE-B7CA-DAD54C385C3F}"/>
    <dgm:cxn modelId="{44E4BCEE-9B4A-404F-8FB7-96750EDD8088}" srcId="{D7D801C3-1D82-4746-AFB5-E3D419AAA3EC}" destId="{34B57496-1C7E-4E08-B2C6-84C590FF5C43}" srcOrd="1" destOrd="0" parTransId="{F22836B0-476B-48B7-B30B-6DB5CBB9EF93}" sibTransId="{A5881B28-E9FC-4D0B-8D32-52BFEBEB243B}"/>
    <dgm:cxn modelId="{C08EBD33-C722-42BF-BE63-F914B6FEEF1D}" type="presParOf" srcId="{62123AD8-04F4-4882-BADA-532F875ABE94}" destId="{7B4A8E7A-4415-4E38-BD28-B298B2114F64}" srcOrd="0" destOrd="0" presId="urn:microsoft.com/office/officeart/2005/8/layout/vList2"/>
    <dgm:cxn modelId="{8DD43D13-117E-4C69-AD52-DEC00EC7FCF5}" type="presParOf" srcId="{62123AD8-04F4-4882-BADA-532F875ABE94}" destId="{1BB7D488-DFB5-49A7-B92F-CA882058579A}" srcOrd="1" destOrd="0" presId="urn:microsoft.com/office/officeart/2005/8/layout/vList2"/>
    <dgm:cxn modelId="{0C7B8EDA-5AE9-46D5-BEEA-59709A521314}" type="presParOf" srcId="{62123AD8-04F4-4882-BADA-532F875ABE94}" destId="{7A8A1E2A-8F2C-4CA7-95A8-34876EE88D4C}" srcOrd="2" destOrd="0" presId="urn:microsoft.com/office/officeart/2005/8/layout/vList2"/>
    <dgm:cxn modelId="{8F5E4D5B-029D-47DB-94A9-3E19077426E2}" type="presParOf" srcId="{62123AD8-04F4-4882-BADA-532F875ABE94}" destId="{0E8D37C8-331F-4C38-B907-6DB714EE51A3}" srcOrd="3" destOrd="0" presId="urn:microsoft.com/office/officeart/2005/8/layout/vList2"/>
    <dgm:cxn modelId="{9633DD49-97D8-45A6-BFFD-A9EA2FBE37A7}" type="presParOf" srcId="{62123AD8-04F4-4882-BADA-532F875ABE94}" destId="{F80414F8-07E5-4F70-8391-409C2B777E36}" srcOrd="4" destOrd="0" presId="urn:microsoft.com/office/officeart/2005/8/layout/vList2"/>
    <dgm:cxn modelId="{FDD9B3DE-7D14-4CE3-B937-48B30F359E93}" type="presParOf" srcId="{62123AD8-04F4-4882-BADA-532F875ABE94}" destId="{E659AE29-2255-41DE-AEA9-31521AD1FE19}" srcOrd="5" destOrd="0" presId="urn:microsoft.com/office/officeart/2005/8/layout/vList2"/>
    <dgm:cxn modelId="{EB6F990A-2FFE-4BE7-96B1-FD2C7800942E}" type="presParOf" srcId="{62123AD8-04F4-4882-BADA-532F875ABE94}" destId="{96D734C8-8052-48DF-A20D-EE5E6F907C2B}" srcOrd="6" destOrd="0" presId="urn:microsoft.com/office/officeart/2005/8/layout/vList2"/>
    <dgm:cxn modelId="{D3030A9E-7D2D-49C7-B061-C5FFFFF75B2A}" type="presParOf" srcId="{62123AD8-04F4-4882-BADA-532F875ABE94}" destId="{234FC03C-59BE-4076-8120-F8D5FEA43626}" srcOrd="7" destOrd="0" presId="urn:microsoft.com/office/officeart/2005/8/layout/vList2"/>
    <dgm:cxn modelId="{64A8B2B8-24F2-420F-9E8E-1E2B077C2E0D}" type="presParOf" srcId="{62123AD8-04F4-4882-BADA-532F875ABE94}" destId="{FF791F4D-3A78-4D7C-839F-AB9F4076A63B}"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D7BF4D-A679-48EF-8A2E-E2CF0B45C379}">
      <dsp:nvSpPr>
        <dsp:cNvPr id="0" name=""/>
        <dsp:cNvSpPr/>
      </dsp:nvSpPr>
      <dsp:spPr>
        <a:xfrm>
          <a:off x="0" y="689"/>
          <a:ext cx="6797675" cy="161386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4A34CB4-3822-46A5-A5EC-A37B26CE3D35}">
      <dsp:nvSpPr>
        <dsp:cNvPr id="0" name=""/>
        <dsp:cNvSpPr/>
      </dsp:nvSpPr>
      <dsp:spPr>
        <a:xfrm>
          <a:off x="488194" y="363809"/>
          <a:ext cx="887626" cy="887626"/>
        </a:xfrm>
        <a:prstGeom prst="rect">
          <a:avLst/>
        </a:prstGeom>
        <a:blipFill>
          <a:blip xmlns:r="http://schemas.openxmlformats.org/officeDocument/2006/relationships" r:embed="rId1"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D5D82F4-04D7-4659-9978-D66ADDFE3A73}">
      <dsp:nvSpPr>
        <dsp:cNvPr id="0" name=""/>
        <dsp:cNvSpPr/>
      </dsp:nvSpPr>
      <dsp:spPr>
        <a:xfrm>
          <a:off x="1864015" y="689"/>
          <a:ext cx="4933659" cy="16138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801" tIns="170801" rIns="170801" bIns="170801" numCol="1" spcCol="1270" anchor="ctr" anchorCtr="0">
          <a:noAutofit/>
        </a:bodyPr>
        <a:lstStyle/>
        <a:p>
          <a:pPr marL="0" lvl="0" indent="0" algn="l" defTabSz="1111250">
            <a:lnSpc>
              <a:spcPct val="90000"/>
            </a:lnSpc>
            <a:spcBef>
              <a:spcPct val="0"/>
            </a:spcBef>
            <a:spcAft>
              <a:spcPct val="35000"/>
            </a:spcAft>
            <a:buNone/>
          </a:pPr>
          <a:r>
            <a:rPr lang="en-US" sz="2500" kern="1200" dirty="0"/>
            <a:t>Provide a general overview and answer any questions.</a:t>
          </a:r>
        </a:p>
      </dsp:txBody>
      <dsp:txXfrm>
        <a:off x="1864015" y="689"/>
        <a:ext cx="4933659" cy="1613866"/>
      </dsp:txXfrm>
    </dsp:sp>
    <dsp:sp modelId="{E771B4FA-0948-4E8D-A42B-EB5C02156C80}">
      <dsp:nvSpPr>
        <dsp:cNvPr id="0" name=""/>
        <dsp:cNvSpPr/>
      </dsp:nvSpPr>
      <dsp:spPr>
        <a:xfrm>
          <a:off x="0" y="2018022"/>
          <a:ext cx="6797675" cy="161386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C73CCA9-1ED1-4ABE-90D5-4CA85ABC1607}">
      <dsp:nvSpPr>
        <dsp:cNvPr id="0" name=""/>
        <dsp:cNvSpPr/>
      </dsp:nvSpPr>
      <dsp:spPr>
        <a:xfrm>
          <a:off x="488194" y="2381142"/>
          <a:ext cx="887626" cy="88762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BA9A6BC-1198-4804-A4DC-CF56611BF971}">
      <dsp:nvSpPr>
        <dsp:cNvPr id="0" name=""/>
        <dsp:cNvSpPr/>
      </dsp:nvSpPr>
      <dsp:spPr>
        <a:xfrm>
          <a:off x="1864015" y="2018022"/>
          <a:ext cx="4933659" cy="16138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801" tIns="170801" rIns="170801" bIns="170801" numCol="1" spcCol="1270" anchor="ctr" anchorCtr="0">
          <a:noAutofit/>
        </a:bodyPr>
        <a:lstStyle/>
        <a:p>
          <a:pPr marL="0" lvl="0" indent="0" algn="l" defTabSz="1111250">
            <a:lnSpc>
              <a:spcPct val="90000"/>
            </a:lnSpc>
            <a:spcBef>
              <a:spcPct val="0"/>
            </a:spcBef>
            <a:spcAft>
              <a:spcPct val="35000"/>
            </a:spcAft>
            <a:buNone/>
          </a:pPr>
          <a:r>
            <a:rPr lang="en-US" sz="2500" kern="1200" dirty="0"/>
            <a:t>Provide a brief review on how to properly complete the application.</a:t>
          </a:r>
          <a:endParaRPr lang="en-US" sz="2500" u="sng" kern="1200" dirty="0"/>
        </a:p>
      </dsp:txBody>
      <dsp:txXfrm>
        <a:off x="1864015" y="2018022"/>
        <a:ext cx="4933659" cy="1613866"/>
      </dsp:txXfrm>
    </dsp:sp>
    <dsp:sp modelId="{F62B6177-7AF6-45AA-90FA-1C310B82B06B}">
      <dsp:nvSpPr>
        <dsp:cNvPr id="0" name=""/>
        <dsp:cNvSpPr/>
      </dsp:nvSpPr>
      <dsp:spPr>
        <a:xfrm>
          <a:off x="0" y="4035355"/>
          <a:ext cx="6797675" cy="1613866"/>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8862DD0-95CF-4B31-A6C0-EE02BEE6CB78}">
      <dsp:nvSpPr>
        <dsp:cNvPr id="0" name=""/>
        <dsp:cNvSpPr/>
      </dsp:nvSpPr>
      <dsp:spPr>
        <a:xfrm>
          <a:off x="488194" y="4398475"/>
          <a:ext cx="887626" cy="887626"/>
        </a:xfrm>
        <a:prstGeom prst="rect">
          <a:avLst/>
        </a:prstGeom>
        <a:blipFill>
          <a:blip xmlns:r="http://schemas.openxmlformats.org/officeDocument/2006/relationships"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23631A1-92B3-4E57-A8D6-D7B5981DCB0F}">
      <dsp:nvSpPr>
        <dsp:cNvPr id="0" name=""/>
        <dsp:cNvSpPr/>
      </dsp:nvSpPr>
      <dsp:spPr>
        <a:xfrm>
          <a:off x="1864015" y="4035355"/>
          <a:ext cx="4933659" cy="16138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801" tIns="170801" rIns="170801" bIns="170801" numCol="1" spcCol="1270" anchor="ctr" anchorCtr="0">
          <a:noAutofit/>
        </a:bodyPr>
        <a:lstStyle/>
        <a:p>
          <a:pPr marL="0" lvl="0" indent="0" algn="l" defTabSz="1111250">
            <a:lnSpc>
              <a:spcPct val="90000"/>
            </a:lnSpc>
            <a:spcBef>
              <a:spcPct val="0"/>
            </a:spcBef>
            <a:spcAft>
              <a:spcPct val="35000"/>
            </a:spcAft>
            <a:buNone/>
          </a:pPr>
          <a:r>
            <a:rPr lang="en-US" sz="2500" kern="1200" dirty="0"/>
            <a:t>Review of Deadlines and Submission Requirements.</a:t>
          </a:r>
        </a:p>
      </dsp:txBody>
      <dsp:txXfrm>
        <a:off x="1864015" y="4035355"/>
        <a:ext cx="4933659" cy="161386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4F8EAB-A992-40C0-972C-94756E34D072}">
      <dsp:nvSpPr>
        <dsp:cNvPr id="0" name=""/>
        <dsp:cNvSpPr/>
      </dsp:nvSpPr>
      <dsp:spPr>
        <a:xfrm>
          <a:off x="0" y="152141"/>
          <a:ext cx="6797675" cy="1299687"/>
        </a:xfrm>
        <a:prstGeom prst="roundRect">
          <a:avLst/>
        </a:prstGeom>
        <a:solidFill>
          <a:schemeClr val="accent5">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b="1" kern="1200">
              <a:latin typeface="Calibri Light"/>
            </a:rPr>
            <a:t>EOF</a:t>
          </a:r>
          <a:r>
            <a:rPr lang="en-US" sz="1700" b="1" kern="1200"/>
            <a:t> Special Projects – </a:t>
          </a:r>
          <a:r>
            <a:rPr lang="en-US" sz="1700" b="1" kern="1200">
              <a:latin typeface="Calibri Light"/>
            </a:rPr>
            <a:t>2,000,000</a:t>
          </a:r>
        </a:p>
      </dsp:txBody>
      <dsp:txXfrm>
        <a:off x="63445" y="215586"/>
        <a:ext cx="6670785" cy="1172797"/>
      </dsp:txXfrm>
    </dsp:sp>
    <dsp:sp modelId="{CB746497-B025-4682-9AA4-55985FF415CE}">
      <dsp:nvSpPr>
        <dsp:cNvPr id="0" name=""/>
        <dsp:cNvSpPr/>
      </dsp:nvSpPr>
      <dsp:spPr>
        <a:xfrm>
          <a:off x="0" y="1500788"/>
          <a:ext cx="6797675" cy="1299687"/>
        </a:xfrm>
        <a:prstGeom prst="roundRect">
          <a:avLst/>
        </a:prstGeom>
        <a:solidFill>
          <a:schemeClr val="accent5">
            <a:hueOff val="138169"/>
            <a:satOff val="13165"/>
            <a:lumOff val="-549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dirty="0">
              <a:latin typeface="Segoe UI"/>
              <a:cs typeface="Segoe UI"/>
            </a:rPr>
            <a:t>OSHE/EOF will provide EOF campus programs with the opportunity to submit a special project application that will allow them to receive a 1-time allocation of additional resources to help enhance their student support efforts on campus. </a:t>
          </a:r>
          <a:endParaRPr lang="en-US" sz="1700" kern="1200" dirty="0"/>
        </a:p>
      </dsp:txBody>
      <dsp:txXfrm>
        <a:off x="63445" y="1564233"/>
        <a:ext cx="6670785" cy="1172797"/>
      </dsp:txXfrm>
    </dsp:sp>
    <dsp:sp modelId="{9E4DA0A3-B106-420F-9BD5-EE3F47965692}">
      <dsp:nvSpPr>
        <dsp:cNvPr id="0" name=""/>
        <dsp:cNvSpPr/>
      </dsp:nvSpPr>
      <dsp:spPr>
        <a:xfrm>
          <a:off x="0" y="2849436"/>
          <a:ext cx="6797675" cy="1299687"/>
        </a:xfrm>
        <a:prstGeom prst="roundRect">
          <a:avLst/>
        </a:prstGeom>
        <a:solidFill>
          <a:schemeClr val="accent5">
            <a:hueOff val="276338"/>
            <a:satOff val="26330"/>
            <a:lumOff val="-1098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a:t>This special opportunity would allow for programs to offer creative programming or enhanced support of their students as institutions continue to transition back to in-person operations.</a:t>
          </a:r>
        </a:p>
      </dsp:txBody>
      <dsp:txXfrm>
        <a:off x="63445" y="2912881"/>
        <a:ext cx="6670785" cy="1172797"/>
      </dsp:txXfrm>
    </dsp:sp>
    <dsp:sp modelId="{699778A1-5F80-4E4E-B15A-BF9F7FA80933}">
      <dsp:nvSpPr>
        <dsp:cNvPr id="0" name=""/>
        <dsp:cNvSpPr/>
      </dsp:nvSpPr>
      <dsp:spPr>
        <a:xfrm>
          <a:off x="0" y="4198083"/>
          <a:ext cx="6797675" cy="1299687"/>
        </a:xfrm>
        <a:prstGeom prst="roundRect">
          <a:avLst/>
        </a:prstGeom>
        <a:solidFill>
          <a:schemeClr val="accent5">
            <a:hueOff val="414507"/>
            <a:satOff val="39495"/>
            <a:lumOff val="-1647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dirty="0">
              <a:latin typeface="Calibri"/>
              <a:cs typeface="Calibri"/>
            </a:rPr>
            <a:t>Programs may apply for more than one project. However, a separate application must be submitted for each special project.</a:t>
          </a:r>
          <a:endParaRPr lang="en-US" sz="1700" kern="1200" dirty="0">
            <a:latin typeface="Calibri Light"/>
          </a:endParaRPr>
        </a:p>
      </dsp:txBody>
      <dsp:txXfrm>
        <a:off x="63445" y="4261528"/>
        <a:ext cx="6670785" cy="117279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B38B14-8B6C-4222-AABC-96EF23FCCBB9}">
      <dsp:nvSpPr>
        <dsp:cNvPr id="0" name=""/>
        <dsp:cNvSpPr/>
      </dsp:nvSpPr>
      <dsp:spPr>
        <a:xfrm>
          <a:off x="1997657" y="824840"/>
          <a:ext cx="428056" cy="91440"/>
        </a:xfrm>
        <a:custGeom>
          <a:avLst/>
          <a:gdLst/>
          <a:ahLst/>
          <a:cxnLst/>
          <a:rect l="0" t="0" r="0" b="0"/>
          <a:pathLst>
            <a:path>
              <a:moveTo>
                <a:pt x="0" y="45720"/>
              </a:moveTo>
              <a:lnTo>
                <a:pt x="428056" y="45720"/>
              </a:lnTo>
            </a:path>
          </a:pathLst>
        </a:custGeom>
        <a:noFill/>
        <a:ln w="12700" cap="flat" cmpd="sng" algn="ctr">
          <a:solidFill>
            <a:schemeClr val="accent5">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200218" y="868266"/>
        <a:ext cx="22932" cy="4586"/>
      </dsp:txXfrm>
    </dsp:sp>
    <dsp:sp modelId="{8EF66F71-4033-4751-99D8-72EBA877096C}">
      <dsp:nvSpPr>
        <dsp:cNvPr id="0" name=""/>
        <dsp:cNvSpPr/>
      </dsp:nvSpPr>
      <dsp:spPr>
        <a:xfrm>
          <a:off x="5297" y="272312"/>
          <a:ext cx="1994159" cy="1196495"/>
        </a:xfrm>
        <a:prstGeom prst="rect">
          <a:avLst/>
        </a:prstGeom>
        <a:solidFill>
          <a:schemeClr val="accent5">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7715" tIns="102570" rIns="97715" bIns="102570" numCol="1" spcCol="1270" anchor="ctr" anchorCtr="0">
          <a:noAutofit/>
        </a:bodyPr>
        <a:lstStyle/>
        <a:p>
          <a:pPr marL="0" lvl="0" indent="0" algn="ctr" defTabSz="622300">
            <a:lnSpc>
              <a:spcPct val="90000"/>
            </a:lnSpc>
            <a:spcBef>
              <a:spcPct val="0"/>
            </a:spcBef>
            <a:spcAft>
              <a:spcPct val="35000"/>
            </a:spcAft>
            <a:buNone/>
          </a:pPr>
          <a:r>
            <a:rPr lang="en-US" sz="1400" kern="1200"/>
            <a:t>All proposals must include a coversheet and should be emailed to </a:t>
          </a:r>
          <a:r>
            <a:rPr lang="en-US" sz="1400" u="sng" kern="1200">
              <a:hlinkClick xmlns:r="http://schemas.openxmlformats.org/officeDocument/2006/relationships" r:id="rId1"/>
            </a:rPr>
            <a:t>EOF@oshe.nj.gov</a:t>
          </a:r>
          <a:r>
            <a:rPr lang="en-US" sz="1400" kern="1200"/>
            <a:t> with a copy to your liaison.</a:t>
          </a:r>
        </a:p>
      </dsp:txBody>
      <dsp:txXfrm>
        <a:off x="5297" y="272312"/>
        <a:ext cx="1994159" cy="1196495"/>
      </dsp:txXfrm>
    </dsp:sp>
    <dsp:sp modelId="{BFEE59D2-119F-4DC7-B931-89770D07B5EC}">
      <dsp:nvSpPr>
        <dsp:cNvPr id="0" name=""/>
        <dsp:cNvSpPr/>
      </dsp:nvSpPr>
      <dsp:spPr>
        <a:xfrm>
          <a:off x="4450473" y="824840"/>
          <a:ext cx="428056" cy="91440"/>
        </a:xfrm>
        <a:custGeom>
          <a:avLst/>
          <a:gdLst/>
          <a:ahLst/>
          <a:cxnLst/>
          <a:rect l="0" t="0" r="0" b="0"/>
          <a:pathLst>
            <a:path>
              <a:moveTo>
                <a:pt x="0" y="45720"/>
              </a:moveTo>
              <a:lnTo>
                <a:pt x="428056" y="45720"/>
              </a:lnTo>
            </a:path>
          </a:pathLst>
        </a:custGeom>
        <a:noFill/>
        <a:ln w="12700" cap="flat" cmpd="sng" algn="ctr">
          <a:solidFill>
            <a:schemeClr val="accent5">
              <a:hueOff val="59215"/>
              <a:satOff val="5642"/>
              <a:lumOff val="-2353"/>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653035" y="868266"/>
        <a:ext cx="22932" cy="4586"/>
      </dsp:txXfrm>
    </dsp:sp>
    <dsp:sp modelId="{5E3CCDB1-ABD7-40CB-92FC-BA429CA4761E}">
      <dsp:nvSpPr>
        <dsp:cNvPr id="0" name=""/>
        <dsp:cNvSpPr/>
      </dsp:nvSpPr>
      <dsp:spPr>
        <a:xfrm>
          <a:off x="2458113" y="272312"/>
          <a:ext cx="1994159" cy="1196495"/>
        </a:xfrm>
        <a:prstGeom prst="rect">
          <a:avLst/>
        </a:prstGeom>
        <a:solidFill>
          <a:schemeClr val="accent5">
            <a:hueOff val="51813"/>
            <a:satOff val="4937"/>
            <a:lumOff val="-2059"/>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7715" tIns="102570" rIns="97715" bIns="102570" numCol="1" spcCol="1270" anchor="ctr" anchorCtr="0">
          <a:noAutofit/>
        </a:bodyPr>
        <a:lstStyle/>
        <a:p>
          <a:pPr marL="0" lvl="0" indent="0" algn="ctr" defTabSz="622300">
            <a:lnSpc>
              <a:spcPct val="90000"/>
            </a:lnSpc>
            <a:spcBef>
              <a:spcPct val="0"/>
            </a:spcBef>
            <a:spcAft>
              <a:spcPct val="35000"/>
            </a:spcAft>
            <a:buNone/>
          </a:pPr>
          <a:r>
            <a:rPr lang="en-US" sz="1400" kern="1200"/>
            <a:t>Narrative Description of Project (No more than 3 pages).</a:t>
          </a:r>
        </a:p>
      </dsp:txBody>
      <dsp:txXfrm>
        <a:off x="2458113" y="272312"/>
        <a:ext cx="1994159" cy="1196495"/>
      </dsp:txXfrm>
    </dsp:sp>
    <dsp:sp modelId="{25DE966D-2942-4BB6-87FB-2FD5CCB87000}">
      <dsp:nvSpPr>
        <dsp:cNvPr id="0" name=""/>
        <dsp:cNvSpPr/>
      </dsp:nvSpPr>
      <dsp:spPr>
        <a:xfrm>
          <a:off x="1002377" y="1467007"/>
          <a:ext cx="4905632" cy="428056"/>
        </a:xfrm>
        <a:custGeom>
          <a:avLst/>
          <a:gdLst/>
          <a:ahLst/>
          <a:cxnLst/>
          <a:rect l="0" t="0" r="0" b="0"/>
          <a:pathLst>
            <a:path>
              <a:moveTo>
                <a:pt x="4905632" y="0"/>
              </a:moveTo>
              <a:lnTo>
                <a:pt x="4905632" y="231128"/>
              </a:lnTo>
              <a:lnTo>
                <a:pt x="0" y="231128"/>
              </a:lnTo>
              <a:lnTo>
                <a:pt x="0" y="428056"/>
              </a:lnTo>
            </a:path>
          </a:pathLst>
        </a:custGeom>
        <a:noFill/>
        <a:ln w="12700" cap="flat" cmpd="sng" algn="ctr">
          <a:solidFill>
            <a:schemeClr val="accent5">
              <a:hueOff val="118431"/>
              <a:satOff val="11284"/>
              <a:lumOff val="-4706"/>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332017" y="1678743"/>
        <a:ext cx="246351" cy="4586"/>
      </dsp:txXfrm>
    </dsp:sp>
    <dsp:sp modelId="{5606A338-DF09-4CE0-A555-20A82138374F}">
      <dsp:nvSpPr>
        <dsp:cNvPr id="0" name=""/>
        <dsp:cNvSpPr/>
      </dsp:nvSpPr>
      <dsp:spPr>
        <a:xfrm>
          <a:off x="4910929" y="272312"/>
          <a:ext cx="1994159" cy="1196495"/>
        </a:xfrm>
        <a:prstGeom prst="rect">
          <a:avLst/>
        </a:prstGeom>
        <a:solidFill>
          <a:schemeClr val="accent5">
            <a:hueOff val="103627"/>
            <a:satOff val="9874"/>
            <a:lumOff val="-4118"/>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7715" tIns="102570" rIns="97715" bIns="102570" numCol="1" spcCol="1270" anchor="ctr" anchorCtr="0">
          <a:noAutofit/>
        </a:bodyPr>
        <a:lstStyle/>
        <a:p>
          <a:pPr marL="0" lvl="0" indent="0" algn="ctr" defTabSz="622300">
            <a:lnSpc>
              <a:spcPct val="90000"/>
            </a:lnSpc>
            <a:spcBef>
              <a:spcPct val="0"/>
            </a:spcBef>
            <a:spcAft>
              <a:spcPct val="35000"/>
            </a:spcAft>
            <a:buNone/>
          </a:pPr>
          <a:r>
            <a:rPr lang="en-US" sz="1400" kern="1200"/>
            <a:t>Describe the proposed special project that you are planning.  </a:t>
          </a:r>
        </a:p>
      </dsp:txBody>
      <dsp:txXfrm>
        <a:off x="4910929" y="272312"/>
        <a:ext cx="1994159" cy="1196495"/>
      </dsp:txXfrm>
    </dsp:sp>
    <dsp:sp modelId="{2D2D5768-C323-4437-BF45-E962FEF2A50B}">
      <dsp:nvSpPr>
        <dsp:cNvPr id="0" name=""/>
        <dsp:cNvSpPr/>
      </dsp:nvSpPr>
      <dsp:spPr>
        <a:xfrm>
          <a:off x="1997657" y="2479992"/>
          <a:ext cx="428056" cy="91440"/>
        </a:xfrm>
        <a:custGeom>
          <a:avLst/>
          <a:gdLst/>
          <a:ahLst/>
          <a:cxnLst/>
          <a:rect l="0" t="0" r="0" b="0"/>
          <a:pathLst>
            <a:path>
              <a:moveTo>
                <a:pt x="0" y="45720"/>
              </a:moveTo>
              <a:lnTo>
                <a:pt x="428056" y="45720"/>
              </a:lnTo>
            </a:path>
          </a:pathLst>
        </a:custGeom>
        <a:noFill/>
        <a:ln w="12700" cap="flat" cmpd="sng" algn="ctr">
          <a:solidFill>
            <a:schemeClr val="accent5">
              <a:hueOff val="177646"/>
              <a:satOff val="16926"/>
              <a:lumOff val="-7059"/>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200218" y="2523419"/>
        <a:ext cx="22932" cy="4586"/>
      </dsp:txXfrm>
    </dsp:sp>
    <dsp:sp modelId="{F0E25BE5-1F2B-49CA-AD1C-0EE9DDC20070}">
      <dsp:nvSpPr>
        <dsp:cNvPr id="0" name=""/>
        <dsp:cNvSpPr/>
      </dsp:nvSpPr>
      <dsp:spPr>
        <a:xfrm>
          <a:off x="5297" y="1927464"/>
          <a:ext cx="1994159" cy="1196495"/>
        </a:xfrm>
        <a:prstGeom prst="rect">
          <a:avLst/>
        </a:prstGeom>
        <a:solidFill>
          <a:schemeClr val="accent5">
            <a:hueOff val="155440"/>
            <a:satOff val="14811"/>
            <a:lumOff val="-6177"/>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7715" tIns="102570" rIns="97715" bIns="102570" numCol="1" spcCol="1270" anchor="ctr" anchorCtr="0">
          <a:noAutofit/>
        </a:bodyPr>
        <a:lstStyle/>
        <a:p>
          <a:pPr marL="0" lvl="0" indent="0" algn="ctr" defTabSz="622300">
            <a:lnSpc>
              <a:spcPct val="90000"/>
            </a:lnSpc>
            <a:spcBef>
              <a:spcPct val="0"/>
            </a:spcBef>
            <a:spcAft>
              <a:spcPct val="35000"/>
            </a:spcAft>
            <a:buNone/>
          </a:pPr>
          <a:r>
            <a:rPr lang="en-US" sz="1400" kern="1200"/>
            <a:t>Include the following information in your description:</a:t>
          </a:r>
        </a:p>
      </dsp:txBody>
      <dsp:txXfrm>
        <a:off x="5297" y="1927464"/>
        <a:ext cx="1994159" cy="1196495"/>
      </dsp:txXfrm>
    </dsp:sp>
    <dsp:sp modelId="{FDF9F5E2-D433-4A1A-970B-FFFE198016EC}">
      <dsp:nvSpPr>
        <dsp:cNvPr id="0" name=""/>
        <dsp:cNvSpPr/>
      </dsp:nvSpPr>
      <dsp:spPr>
        <a:xfrm>
          <a:off x="4450473" y="2479992"/>
          <a:ext cx="428056" cy="91440"/>
        </a:xfrm>
        <a:custGeom>
          <a:avLst/>
          <a:gdLst/>
          <a:ahLst/>
          <a:cxnLst/>
          <a:rect l="0" t="0" r="0" b="0"/>
          <a:pathLst>
            <a:path>
              <a:moveTo>
                <a:pt x="0" y="45720"/>
              </a:moveTo>
              <a:lnTo>
                <a:pt x="428056" y="45720"/>
              </a:lnTo>
            </a:path>
          </a:pathLst>
        </a:custGeom>
        <a:noFill/>
        <a:ln w="12700" cap="flat" cmpd="sng" algn="ctr">
          <a:solidFill>
            <a:schemeClr val="accent5">
              <a:hueOff val="236861"/>
              <a:satOff val="22569"/>
              <a:lumOff val="-9412"/>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653035" y="2523419"/>
        <a:ext cx="22932" cy="4586"/>
      </dsp:txXfrm>
    </dsp:sp>
    <dsp:sp modelId="{EE1C62B0-33B2-408A-B210-C1B3AD8E88EE}">
      <dsp:nvSpPr>
        <dsp:cNvPr id="0" name=""/>
        <dsp:cNvSpPr/>
      </dsp:nvSpPr>
      <dsp:spPr>
        <a:xfrm>
          <a:off x="2458113" y="1927464"/>
          <a:ext cx="1994159" cy="1196495"/>
        </a:xfrm>
        <a:prstGeom prst="rect">
          <a:avLst/>
        </a:prstGeom>
        <a:solidFill>
          <a:schemeClr val="accent5">
            <a:hueOff val="207253"/>
            <a:satOff val="19748"/>
            <a:lumOff val="-8236"/>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7715" tIns="102570" rIns="97715" bIns="102570" numCol="1" spcCol="1270" anchor="ctr" anchorCtr="0">
          <a:noAutofit/>
        </a:bodyPr>
        <a:lstStyle/>
        <a:p>
          <a:pPr marL="0" lvl="0" indent="0" algn="ctr" defTabSz="622300">
            <a:lnSpc>
              <a:spcPct val="90000"/>
            </a:lnSpc>
            <a:spcBef>
              <a:spcPct val="0"/>
            </a:spcBef>
            <a:spcAft>
              <a:spcPct val="35000"/>
            </a:spcAft>
            <a:buNone/>
          </a:pPr>
          <a:r>
            <a:rPr lang="en-US" sz="1400" kern="1200"/>
            <a:t>Target audience</a:t>
          </a:r>
        </a:p>
      </dsp:txBody>
      <dsp:txXfrm>
        <a:off x="2458113" y="1927464"/>
        <a:ext cx="1994159" cy="1196495"/>
      </dsp:txXfrm>
    </dsp:sp>
    <dsp:sp modelId="{25AF159F-5F8B-4716-85A7-485FF496DFAC}">
      <dsp:nvSpPr>
        <dsp:cNvPr id="0" name=""/>
        <dsp:cNvSpPr/>
      </dsp:nvSpPr>
      <dsp:spPr>
        <a:xfrm>
          <a:off x="1002377" y="3122160"/>
          <a:ext cx="4905632" cy="428056"/>
        </a:xfrm>
        <a:custGeom>
          <a:avLst/>
          <a:gdLst/>
          <a:ahLst/>
          <a:cxnLst/>
          <a:rect l="0" t="0" r="0" b="0"/>
          <a:pathLst>
            <a:path>
              <a:moveTo>
                <a:pt x="4905632" y="0"/>
              </a:moveTo>
              <a:lnTo>
                <a:pt x="4905632" y="231128"/>
              </a:lnTo>
              <a:lnTo>
                <a:pt x="0" y="231128"/>
              </a:lnTo>
              <a:lnTo>
                <a:pt x="0" y="428056"/>
              </a:lnTo>
            </a:path>
          </a:pathLst>
        </a:custGeom>
        <a:noFill/>
        <a:ln w="12700" cap="flat" cmpd="sng" algn="ctr">
          <a:solidFill>
            <a:schemeClr val="accent5">
              <a:hueOff val="296076"/>
              <a:satOff val="28211"/>
              <a:lumOff val="-11765"/>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332017" y="3333895"/>
        <a:ext cx="246351" cy="4586"/>
      </dsp:txXfrm>
    </dsp:sp>
    <dsp:sp modelId="{F64ADF10-7647-4E96-9E21-1D73D76C0277}">
      <dsp:nvSpPr>
        <dsp:cNvPr id="0" name=""/>
        <dsp:cNvSpPr/>
      </dsp:nvSpPr>
      <dsp:spPr>
        <a:xfrm>
          <a:off x="4910929" y="1927464"/>
          <a:ext cx="1994159" cy="1196495"/>
        </a:xfrm>
        <a:prstGeom prst="rect">
          <a:avLst/>
        </a:prstGeom>
        <a:solidFill>
          <a:schemeClr val="accent5">
            <a:hueOff val="259067"/>
            <a:satOff val="24684"/>
            <a:lumOff val="-10294"/>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7715" tIns="102570" rIns="97715" bIns="102570" numCol="1" spcCol="1270" anchor="ctr" anchorCtr="0">
          <a:noAutofit/>
        </a:bodyPr>
        <a:lstStyle/>
        <a:p>
          <a:pPr marL="0" lvl="0" indent="0" algn="ctr" defTabSz="622300">
            <a:lnSpc>
              <a:spcPct val="90000"/>
            </a:lnSpc>
            <a:spcBef>
              <a:spcPct val="0"/>
            </a:spcBef>
            <a:spcAft>
              <a:spcPct val="35000"/>
            </a:spcAft>
            <a:buNone/>
          </a:pPr>
          <a:r>
            <a:rPr lang="en-US" sz="1400" kern="1200"/>
            <a:t>Project goal and objectives </a:t>
          </a:r>
        </a:p>
      </dsp:txBody>
      <dsp:txXfrm>
        <a:off x="4910929" y="1927464"/>
        <a:ext cx="1994159" cy="1196495"/>
      </dsp:txXfrm>
    </dsp:sp>
    <dsp:sp modelId="{3290A82A-8205-4F9F-A7CC-4FB398273A5E}">
      <dsp:nvSpPr>
        <dsp:cNvPr id="0" name=""/>
        <dsp:cNvSpPr/>
      </dsp:nvSpPr>
      <dsp:spPr>
        <a:xfrm>
          <a:off x="1997657" y="4135144"/>
          <a:ext cx="428056" cy="91440"/>
        </a:xfrm>
        <a:custGeom>
          <a:avLst/>
          <a:gdLst/>
          <a:ahLst/>
          <a:cxnLst/>
          <a:rect l="0" t="0" r="0" b="0"/>
          <a:pathLst>
            <a:path>
              <a:moveTo>
                <a:pt x="0" y="45720"/>
              </a:moveTo>
              <a:lnTo>
                <a:pt x="428056" y="45720"/>
              </a:lnTo>
            </a:path>
          </a:pathLst>
        </a:custGeom>
        <a:noFill/>
        <a:ln w="12700" cap="flat" cmpd="sng" algn="ctr">
          <a:solidFill>
            <a:schemeClr val="accent5">
              <a:hueOff val="355292"/>
              <a:satOff val="33853"/>
              <a:lumOff val="-14118"/>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200218" y="4178571"/>
        <a:ext cx="22932" cy="4586"/>
      </dsp:txXfrm>
    </dsp:sp>
    <dsp:sp modelId="{4DEFD38A-6ECD-4A06-A2DF-A80308078185}">
      <dsp:nvSpPr>
        <dsp:cNvPr id="0" name=""/>
        <dsp:cNvSpPr/>
      </dsp:nvSpPr>
      <dsp:spPr>
        <a:xfrm>
          <a:off x="5297" y="3582617"/>
          <a:ext cx="1994159" cy="1196495"/>
        </a:xfrm>
        <a:prstGeom prst="rect">
          <a:avLst/>
        </a:prstGeom>
        <a:solidFill>
          <a:schemeClr val="accent5">
            <a:hueOff val="310880"/>
            <a:satOff val="29621"/>
            <a:lumOff val="-12353"/>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7715" tIns="102570" rIns="97715" bIns="102570" numCol="1" spcCol="1270" anchor="ctr" anchorCtr="0">
          <a:noAutofit/>
        </a:bodyPr>
        <a:lstStyle/>
        <a:p>
          <a:pPr marL="0" lvl="0" indent="0" algn="ctr" defTabSz="622300">
            <a:lnSpc>
              <a:spcPct val="90000"/>
            </a:lnSpc>
            <a:spcBef>
              <a:spcPct val="0"/>
            </a:spcBef>
            <a:spcAft>
              <a:spcPct val="35000"/>
            </a:spcAft>
            <a:buNone/>
          </a:pPr>
          <a:r>
            <a:rPr lang="en-US" sz="1400" kern="1200" dirty="0"/>
            <a:t>Intended impact of your proposal</a:t>
          </a:r>
        </a:p>
      </dsp:txBody>
      <dsp:txXfrm>
        <a:off x="5297" y="3582617"/>
        <a:ext cx="1994159" cy="1196495"/>
      </dsp:txXfrm>
    </dsp:sp>
    <dsp:sp modelId="{8D690500-F4AC-4D3E-AE75-A0C19A44D7BF}">
      <dsp:nvSpPr>
        <dsp:cNvPr id="0" name=""/>
        <dsp:cNvSpPr/>
      </dsp:nvSpPr>
      <dsp:spPr>
        <a:xfrm>
          <a:off x="4450473" y="4135144"/>
          <a:ext cx="428056" cy="91440"/>
        </a:xfrm>
        <a:custGeom>
          <a:avLst/>
          <a:gdLst/>
          <a:ahLst/>
          <a:cxnLst/>
          <a:rect l="0" t="0" r="0" b="0"/>
          <a:pathLst>
            <a:path>
              <a:moveTo>
                <a:pt x="0" y="45720"/>
              </a:moveTo>
              <a:lnTo>
                <a:pt x="428056" y="45720"/>
              </a:lnTo>
            </a:path>
          </a:pathLst>
        </a:custGeom>
        <a:noFill/>
        <a:ln w="12700" cap="flat" cmpd="sng" algn="ctr">
          <a:solidFill>
            <a:schemeClr val="accent5">
              <a:hueOff val="414507"/>
              <a:satOff val="39495"/>
              <a:lumOff val="-16471"/>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653035" y="4178571"/>
        <a:ext cx="22932" cy="4586"/>
      </dsp:txXfrm>
    </dsp:sp>
    <dsp:sp modelId="{4839B7E5-8712-42E4-A4DE-1DCF1B714526}">
      <dsp:nvSpPr>
        <dsp:cNvPr id="0" name=""/>
        <dsp:cNvSpPr/>
      </dsp:nvSpPr>
      <dsp:spPr>
        <a:xfrm>
          <a:off x="2458113" y="3582617"/>
          <a:ext cx="1994159" cy="1196495"/>
        </a:xfrm>
        <a:prstGeom prst="rect">
          <a:avLst/>
        </a:prstGeom>
        <a:solidFill>
          <a:schemeClr val="accent5">
            <a:hueOff val="362693"/>
            <a:satOff val="34558"/>
            <a:lumOff val="-14412"/>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7715" tIns="102570" rIns="97715" bIns="102570" numCol="1" spcCol="1270" anchor="ctr" anchorCtr="0">
          <a:noAutofit/>
        </a:bodyPr>
        <a:lstStyle/>
        <a:p>
          <a:pPr marL="0" lvl="0" indent="0" algn="ctr" defTabSz="622300">
            <a:lnSpc>
              <a:spcPct val="90000"/>
            </a:lnSpc>
            <a:spcBef>
              <a:spcPct val="0"/>
            </a:spcBef>
            <a:spcAft>
              <a:spcPct val="35000"/>
            </a:spcAft>
            <a:buNone/>
          </a:pPr>
          <a:r>
            <a:rPr lang="en-US" sz="1400" kern="1200"/>
            <a:t>Assessment measurements </a:t>
          </a:r>
          <a:endParaRPr lang="en-US" sz="1400" kern="1200" dirty="0"/>
        </a:p>
      </dsp:txBody>
      <dsp:txXfrm>
        <a:off x="2458113" y="3582617"/>
        <a:ext cx="1994159" cy="1196495"/>
      </dsp:txXfrm>
    </dsp:sp>
    <dsp:sp modelId="{F49BB304-94AC-4640-9FE0-538B2CC25718}">
      <dsp:nvSpPr>
        <dsp:cNvPr id="0" name=""/>
        <dsp:cNvSpPr/>
      </dsp:nvSpPr>
      <dsp:spPr>
        <a:xfrm>
          <a:off x="4910929" y="3582617"/>
          <a:ext cx="1994159" cy="1196495"/>
        </a:xfrm>
        <a:prstGeom prst="rect">
          <a:avLst/>
        </a:prstGeom>
        <a:solidFill>
          <a:schemeClr val="accent5">
            <a:hueOff val="414507"/>
            <a:satOff val="39495"/>
            <a:lumOff val="-1647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7715" tIns="102570" rIns="97715" bIns="102570" numCol="1" spcCol="1270" anchor="ctr" anchorCtr="0">
          <a:noAutofit/>
        </a:bodyPr>
        <a:lstStyle/>
        <a:p>
          <a:pPr marL="0" lvl="0" indent="0" algn="ctr" defTabSz="622300">
            <a:lnSpc>
              <a:spcPct val="90000"/>
            </a:lnSpc>
            <a:spcBef>
              <a:spcPct val="0"/>
            </a:spcBef>
            <a:spcAft>
              <a:spcPct val="35000"/>
            </a:spcAft>
            <a:buNone/>
          </a:pPr>
          <a:r>
            <a:rPr lang="en-US" sz="1400" kern="1200" dirty="0"/>
            <a:t>Cost Breakdown </a:t>
          </a:r>
        </a:p>
      </dsp:txBody>
      <dsp:txXfrm>
        <a:off x="4910929" y="3582617"/>
        <a:ext cx="1994159" cy="119649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CFC944-981F-4061-BA6B-B98B9D31D563}">
      <dsp:nvSpPr>
        <dsp:cNvPr id="0" name=""/>
        <dsp:cNvSpPr/>
      </dsp:nvSpPr>
      <dsp:spPr>
        <a:xfrm>
          <a:off x="0" y="462"/>
          <a:ext cx="10058399" cy="1081473"/>
        </a:xfrm>
        <a:prstGeom prst="roundRect">
          <a:avLst>
            <a:gd name="adj" fmla="val 1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2594195-6DBF-44C6-8C9F-48E3C8A574CA}">
      <dsp:nvSpPr>
        <dsp:cNvPr id="0" name=""/>
        <dsp:cNvSpPr/>
      </dsp:nvSpPr>
      <dsp:spPr>
        <a:xfrm>
          <a:off x="327145" y="243793"/>
          <a:ext cx="594810" cy="594810"/>
        </a:xfrm>
        <a:prstGeom prst="rect">
          <a:avLst/>
        </a:prstGeom>
        <a:blipFill>
          <a:blip xmlns:r="http://schemas.openxmlformats.org/officeDocument/2006/relationships" r:embed="rId1"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92BDC135-E782-4B27-B35C-85354549DEDE}">
      <dsp:nvSpPr>
        <dsp:cNvPr id="0" name=""/>
        <dsp:cNvSpPr/>
      </dsp:nvSpPr>
      <dsp:spPr>
        <a:xfrm>
          <a:off x="1249101" y="462"/>
          <a:ext cx="8809298" cy="10814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456" tIns="114456" rIns="114456" bIns="114456" numCol="1" spcCol="1270" anchor="ctr" anchorCtr="0">
          <a:noAutofit/>
        </a:bodyPr>
        <a:lstStyle/>
        <a:p>
          <a:pPr marL="0" lvl="0" indent="0" algn="l" defTabSz="1111250">
            <a:lnSpc>
              <a:spcPct val="100000"/>
            </a:lnSpc>
            <a:spcBef>
              <a:spcPct val="0"/>
            </a:spcBef>
            <a:spcAft>
              <a:spcPct val="35000"/>
            </a:spcAft>
            <a:buNone/>
          </a:pPr>
          <a:r>
            <a:rPr lang="en-US" sz="2500" kern="1200"/>
            <a:t>Narrative should include the</a:t>
          </a:r>
          <a:r>
            <a:rPr lang="en-US" sz="2500" kern="1200">
              <a:latin typeface="Calibri Light"/>
            </a:rPr>
            <a:t> primary</a:t>
          </a:r>
          <a:r>
            <a:rPr lang="en-US" sz="2500" kern="1200"/>
            <a:t> host director &amp; institution.</a:t>
          </a:r>
        </a:p>
      </dsp:txBody>
      <dsp:txXfrm>
        <a:off x="1249101" y="462"/>
        <a:ext cx="8809298" cy="1081473"/>
      </dsp:txXfrm>
    </dsp:sp>
    <dsp:sp modelId="{D7C180EF-E9B1-4796-980F-316FAC230028}">
      <dsp:nvSpPr>
        <dsp:cNvPr id="0" name=""/>
        <dsp:cNvSpPr/>
      </dsp:nvSpPr>
      <dsp:spPr>
        <a:xfrm>
          <a:off x="0" y="1352303"/>
          <a:ext cx="10058399" cy="1081473"/>
        </a:xfrm>
        <a:prstGeom prst="roundRect">
          <a:avLst>
            <a:gd name="adj" fmla="val 1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285D28E-3658-468C-A36B-A6B7D4BF5078}">
      <dsp:nvSpPr>
        <dsp:cNvPr id="0" name=""/>
        <dsp:cNvSpPr/>
      </dsp:nvSpPr>
      <dsp:spPr>
        <a:xfrm>
          <a:off x="327145" y="1595634"/>
          <a:ext cx="594810" cy="594810"/>
        </a:xfrm>
        <a:prstGeom prst="rect">
          <a:avLst/>
        </a:prstGeom>
        <a:blipFill>
          <a:blip xmlns:r="http://schemas.openxmlformats.org/officeDocument/2006/relationships"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B3655DE-2B41-4B2A-B8E9-AA10BD1AF312}">
      <dsp:nvSpPr>
        <dsp:cNvPr id="0" name=""/>
        <dsp:cNvSpPr/>
      </dsp:nvSpPr>
      <dsp:spPr>
        <a:xfrm>
          <a:off x="1249101" y="1352303"/>
          <a:ext cx="8809298" cy="10814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456" tIns="114456" rIns="114456" bIns="114456" numCol="1" spcCol="1270" anchor="ctr" anchorCtr="0">
          <a:noAutofit/>
        </a:bodyPr>
        <a:lstStyle/>
        <a:p>
          <a:pPr marL="0" lvl="0" indent="0" algn="l" defTabSz="1111250">
            <a:lnSpc>
              <a:spcPct val="100000"/>
            </a:lnSpc>
            <a:spcBef>
              <a:spcPct val="0"/>
            </a:spcBef>
            <a:spcAft>
              <a:spcPct val="35000"/>
            </a:spcAft>
            <a:buNone/>
          </a:pPr>
          <a:r>
            <a:rPr lang="en-US" sz="2500" kern="1200"/>
            <a:t>Special Project funding will be sent to the host institution.</a:t>
          </a:r>
        </a:p>
      </dsp:txBody>
      <dsp:txXfrm>
        <a:off x="1249101" y="1352303"/>
        <a:ext cx="8809298" cy="1081473"/>
      </dsp:txXfrm>
    </dsp:sp>
    <dsp:sp modelId="{7F8DE6F6-1984-4D82-B658-63206CF29D78}">
      <dsp:nvSpPr>
        <dsp:cNvPr id="0" name=""/>
        <dsp:cNvSpPr/>
      </dsp:nvSpPr>
      <dsp:spPr>
        <a:xfrm>
          <a:off x="0" y="2704144"/>
          <a:ext cx="10058399" cy="1081473"/>
        </a:xfrm>
        <a:prstGeom prst="roundRect">
          <a:avLst>
            <a:gd name="adj" fmla="val 1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8EC710F-0B51-4A17-AD94-67B1C3FC8FFC}">
      <dsp:nvSpPr>
        <dsp:cNvPr id="0" name=""/>
        <dsp:cNvSpPr/>
      </dsp:nvSpPr>
      <dsp:spPr>
        <a:xfrm>
          <a:off x="327145" y="2947476"/>
          <a:ext cx="594810" cy="594810"/>
        </a:xfrm>
        <a:prstGeom prst="rect">
          <a:avLst/>
        </a:prstGeom>
        <a:blipFill>
          <a:blip xmlns:r="http://schemas.openxmlformats.org/officeDocument/2006/relationships"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76399C12-0ED0-4138-BB1B-AB5B2BB81530}">
      <dsp:nvSpPr>
        <dsp:cNvPr id="0" name=""/>
        <dsp:cNvSpPr/>
      </dsp:nvSpPr>
      <dsp:spPr>
        <a:xfrm>
          <a:off x="1249101" y="2704144"/>
          <a:ext cx="8809298" cy="10814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456" tIns="114456" rIns="114456" bIns="114456" numCol="1" spcCol="1270" anchor="ctr" anchorCtr="0">
          <a:noAutofit/>
        </a:bodyPr>
        <a:lstStyle/>
        <a:p>
          <a:pPr marL="0" lvl="0" indent="0" algn="l" defTabSz="1111250" rtl="0">
            <a:lnSpc>
              <a:spcPct val="100000"/>
            </a:lnSpc>
            <a:spcBef>
              <a:spcPct val="0"/>
            </a:spcBef>
            <a:spcAft>
              <a:spcPct val="35000"/>
            </a:spcAft>
            <a:buNone/>
          </a:pPr>
          <a:r>
            <a:rPr lang="en-US" sz="2500" kern="1200"/>
            <a:t>The host director is responsible for completing</a:t>
          </a:r>
          <a:r>
            <a:rPr lang="en-US" sz="2500" kern="1200">
              <a:latin typeface="Calibri Light"/>
            </a:rPr>
            <a:t> and</a:t>
          </a:r>
          <a:r>
            <a:rPr lang="en-US" sz="2500" kern="1200"/>
            <a:t> submitting the application, budget, modifications and expenditure report. </a:t>
          </a:r>
        </a:p>
      </dsp:txBody>
      <dsp:txXfrm>
        <a:off x="1249101" y="2704144"/>
        <a:ext cx="8809298" cy="108147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259377-541F-4846-A1DC-D4C611910EA8}">
      <dsp:nvSpPr>
        <dsp:cNvPr id="0" name=""/>
        <dsp:cNvSpPr/>
      </dsp:nvSpPr>
      <dsp:spPr>
        <a:xfrm>
          <a:off x="0" y="349370"/>
          <a:ext cx="6797675" cy="1594710"/>
        </a:xfrm>
        <a:prstGeom prst="round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a:t>EOF special project budget includes items to be purchased and/or services to be contracted for and calculations used.</a:t>
          </a:r>
        </a:p>
      </dsp:txBody>
      <dsp:txXfrm>
        <a:off x="77847" y="427217"/>
        <a:ext cx="6641981" cy="1439016"/>
      </dsp:txXfrm>
    </dsp:sp>
    <dsp:sp modelId="{C732C033-8907-4E8B-8D62-6740A5EF192B}">
      <dsp:nvSpPr>
        <dsp:cNvPr id="0" name=""/>
        <dsp:cNvSpPr/>
      </dsp:nvSpPr>
      <dsp:spPr>
        <a:xfrm>
          <a:off x="0" y="2027601"/>
          <a:ext cx="6797675" cy="1594710"/>
        </a:xfrm>
        <a:prstGeom prst="roundRect">
          <a:avLst/>
        </a:prstGeom>
        <a:solidFill>
          <a:schemeClr val="accent2">
            <a:hueOff val="-4084601"/>
            <a:satOff val="-8004"/>
            <a:lumOff val="16666"/>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kern="1200"/>
            <a:t>Programs that are selected must ensure that all activities are completed and funds are encumbered by June 30th, 2025. </a:t>
          </a:r>
        </a:p>
      </dsp:txBody>
      <dsp:txXfrm>
        <a:off x="77847" y="2105448"/>
        <a:ext cx="6641981" cy="1439016"/>
      </dsp:txXfrm>
    </dsp:sp>
    <dsp:sp modelId="{5311CBEF-CB67-42F7-8FB6-2F1D154719EA}">
      <dsp:nvSpPr>
        <dsp:cNvPr id="0" name=""/>
        <dsp:cNvSpPr/>
      </dsp:nvSpPr>
      <dsp:spPr>
        <a:xfrm>
          <a:off x="0" y="3705831"/>
          <a:ext cx="6797675" cy="1594710"/>
        </a:xfrm>
        <a:prstGeom prst="roundRect">
          <a:avLst/>
        </a:prstGeom>
        <a:solidFill>
          <a:schemeClr val="accent2">
            <a:hueOff val="-8169202"/>
            <a:satOff val="-16007"/>
            <a:lumOff val="3333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b="0" kern="1200">
              <a:latin typeface="Calibri Light"/>
            </a:rPr>
            <a:t>EOF</a:t>
          </a:r>
          <a:r>
            <a:rPr lang="en-US" sz="2900" kern="1200"/>
            <a:t> special project funds should only be used for initiatives that impact current or prospective EOF students.</a:t>
          </a:r>
        </a:p>
      </dsp:txBody>
      <dsp:txXfrm>
        <a:off x="77847" y="3783678"/>
        <a:ext cx="6641981" cy="143901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538290-9612-4BD4-9BDA-243C396DBAAC}">
      <dsp:nvSpPr>
        <dsp:cNvPr id="0" name=""/>
        <dsp:cNvSpPr/>
      </dsp:nvSpPr>
      <dsp:spPr>
        <a:xfrm>
          <a:off x="752238" y="74399"/>
          <a:ext cx="1512000" cy="1512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A3AD43E-A8CB-4BA9-81A9-AB0C2FE2F5E8}">
      <dsp:nvSpPr>
        <dsp:cNvPr id="0" name=""/>
        <dsp:cNvSpPr/>
      </dsp:nvSpPr>
      <dsp:spPr>
        <a:xfrm>
          <a:off x="752238" y="1735628"/>
          <a:ext cx="4320000" cy="64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66750">
            <a:lnSpc>
              <a:spcPct val="90000"/>
            </a:lnSpc>
            <a:spcBef>
              <a:spcPct val="0"/>
            </a:spcBef>
            <a:spcAft>
              <a:spcPct val="35000"/>
            </a:spcAft>
            <a:buNone/>
            <a:defRPr b="1"/>
          </a:pPr>
          <a:r>
            <a:rPr lang="en-US" sz="1500" kern="1200"/>
            <a:t>Changes to your original, approved budget require prior written approval from OSHE/EOF Central Office Staff.</a:t>
          </a:r>
        </a:p>
      </dsp:txBody>
      <dsp:txXfrm>
        <a:off x="752238" y="1735628"/>
        <a:ext cx="4320000" cy="648000"/>
      </dsp:txXfrm>
    </dsp:sp>
    <dsp:sp modelId="{5F2BAD4B-04D0-4CE2-AACF-7D1A57674FA8}">
      <dsp:nvSpPr>
        <dsp:cNvPr id="0" name=""/>
        <dsp:cNvSpPr/>
      </dsp:nvSpPr>
      <dsp:spPr>
        <a:xfrm>
          <a:off x="752238" y="2453037"/>
          <a:ext cx="4320000" cy="10918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533400">
            <a:lnSpc>
              <a:spcPct val="90000"/>
            </a:lnSpc>
            <a:spcBef>
              <a:spcPct val="0"/>
            </a:spcBef>
            <a:spcAft>
              <a:spcPct val="35000"/>
            </a:spcAft>
            <a:buNone/>
          </a:pPr>
          <a:r>
            <a:rPr lang="en-US" sz="1200" kern="1200"/>
            <a:t>This includes modifications between categories (i.e. moving money from the budgeted line for staff salaries to the line for Educational Materials and Supplies) as well as new items that were not part of the original fiscal year contract.</a:t>
          </a:r>
        </a:p>
        <a:p>
          <a:pPr marL="0" lvl="0" indent="0" algn="l" defTabSz="533400">
            <a:lnSpc>
              <a:spcPct val="90000"/>
            </a:lnSpc>
            <a:spcBef>
              <a:spcPct val="0"/>
            </a:spcBef>
            <a:spcAft>
              <a:spcPct val="35000"/>
            </a:spcAft>
            <a:buNone/>
          </a:pPr>
          <a:r>
            <a:rPr lang="en-US" sz="1200" b="1" i="1" kern="1200"/>
            <a:t>Budget Modifications within the same category without requesting approval is allowed</a:t>
          </a:r>
          <a:r>
            <a:rPr lang="en-US" sz="1200" kern="1200"/>
            <a:t>. </a:t>
          </a:r>
        </a:p>
      </dsp:txBody>
      <dsp:txXfrm>
        <a:off x="752238" y="2453037"/>
        <a:ext cx="4320000" cy="1091805"/>
      </dsp:txXfrm>
    </dsp:sp>
    <dsp:sp modelId="{BD2CEBE4-0F07-440C-A4C5-DA17DA26D981}">
      <dsp:nvSpPr>
        <dsp:cNvPr id="0" name=""/>
        <dsp:cNvSpPr/>
      </dsp:nvSpPr>
      <dsp:spPr>
        <a:xfrm>
          <a:off x="5828238" y="74399"/>
          <a:ext cx="1512000" cy="1512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5875"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6E0F57F-2904-42B6-909D-659F7424AA0A}">
      <dsp:nvSpPr>
        <dsp:cNvPr id="0" name=""/>
        <dsp:cNvSpPr/>
      </dsp:nvSpPr>
      <dsp:spPr>
        <a:xfrm>
          <a:off x="5828238" y="1735628"/>
          <a:ext cx="4320000" cy="648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666750">
            <a:lnSpc>
              <a:spcPct val="90000"/>
            </a:lnSpc>
            <a:spcBef>
              <a:spcPct val="0"/>
            </a:spcBef>
            <a:spcAft>
              <a:spcPct val="35000"/>
            </a:spcAft>
            <a:buNone/>
            <a:defRPr b="1"/>
          </a:pPr>
          <a:r>
            <a:rPr lang="en-US" sz="1500" kern="1200"/>
            <a:t>Budget modifications must be submitted via email to your program liaison with the following information:</a:t>
          </a:r>
        </a:p>
      </dsp:txBody>
      <dsp:txXfrm>
        <a:off x="5828238" y="1735628"/>
        <a:ext cx="4320000" cy="648000"/>
      </dsp:txXfrm>
    </dsp:sp>
    <dsp:sp modelId="{EE9CC268-61EC-4DEE-B86C-CB60830C24FD}">
      <dsp:nvSpPr>
        <dsp:cNvPr id="0" name=""/>
        <dsp:cNvSpPr/>
      </dsp:nvSpPr>
      <dsp:spPr>
        <a:xfrm>
          <a:off x="5828238" y="2453037"/>
          <a:ext cx="4320000" cy="109180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533400">
            <a:lnSpc>
              <a:spcPct val="90000"/>
            </a:lnSpc>
            <a:spcBef>
              <a:spcPct val="0"/>
            </a:spcBef>
            <a:spcAft>
              <a:spcPct val="35000"/>
            </a:spcAft>
            <a:buNone/>
          </a:pPr>
          <a:r>
            <a:rPr lang="en-US" sz="1200" kern="1200"/>
            <a:t>Moving Funds from (identify category, row #, item) </a:t>
          </a:r>
        </a:p>
        <a:p>
          <a:pPr marL="0" lvl="0" indent="0" algn="l" defTabSz="533400">
            <a:lnSpc>
              <a:spcPct val="90000"/>
            </a:lnSpc>
            <a:spcBef>
              <a:spcPct val="0"/>
            </a:spcBef>
            <a:spcAft>
              <a:spcPct val="35000"/>
            </a:spcAft>
            <a:buNone/>
          </a:pPr>
          <a:r>
            <a:rPr lang="en-US" sz="1200" kern="1200"/>
            <a:t>Moving Funds to (identify category, row #, item) </a:t>
          </a:r>
        </a:p>
        <a:p>
          <a:pPr marL="0" lvl="0" indent="0" algn="l" defTabSz="533400">
            <a:lnSpc>
              <a:spcPct val="90000"/>
            </a:lnSpc>
            <a:spcBef>
              <a:spcPct val="0"/>
            </a:spcBef>
            <a:spcAft>
              <a:spcPct val="35000"/>
            </a:spcAft>
            <a:buNone/>
          </a:pPr>
          <a:r>
            <a:rPr lang="en-US" sz="1200" kern="1200"/>
            <a:t>Amount/Change </a:t>
          </a:r>
        </a:p>
        <a:p>
          <a:pPr marL="0" lvl="0" indent="0" algn="l" defTabSz="533400">
            <a:lnSpc>
              <a:spcPct val="90000"/>
            </a:lnSpc>
            <a:spcBef>
              <a:spcPct val="0"/>
            </a:spcBef>
            <a:spcAft>
              <a:spcPct val="35000"/>
            </a:spcAft>
            <a:buNone/>
          </a:pPr>
          <a:r>
            <a:rPr lang="en-US" sz="1200" kern="1200"/>
            <a:t>Rationale </a:t>
          </a:r>
        </a:p>
      </dsp:txBody>
      <dsp:txXfrm>
        <a:off x="5828238" y="2453037"/>
        <a:ext cx="4320000" cy="1091805"/>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4A8E7A-4415-4E38-BD28-B298B2114F64}">
      <dsp:nvSpPr>
        <dsp:cNvPr id="0" name=""/>
        <dsp:cNvSpPr/>
      </dsp:nvSpPr>
      <dsp:spPr>
        <a:xfrm>
          <a:off x="0" y="640782"/>
          <a:ext cx="6797675" cy="839109"/>
        </a:xfrm>
        <a:prstGeom prst="round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a:t>Funding for this initiative is being provided to support the approved special project.	</a:t>
          </a:r>
        </a:p>
      </dsp:txBody>
      <dsp:txXfrm>
        <a:off x="40962" y="681744"/>
        <a:ext cx="6715751" cy="757185"/>
      </dsp:txXfrm>
    </dsp:sp>
    <dsp:sp modelId="{7A8A1E2A-8F2C-4CA7-95A8-34876EE88D4C}">
      <dsp:nvSpPr>
        <dsp:cNvPr id="0" name=""/>
        <dsp:cNvSpPr/>
      </dsp:nvSpPr>
      <dsp:spPr>
        <a:xfrm>
          <a:off x="0" y="1523091"/>
          <a:ext cx="6797675" cy="839109"/>
        </a:xfrm>
        <a:prstGeom prst="roundRect">
          <a:avLst/>
        </a:prstGeom>
        <a:solidFill>
          <a:schemeClr val="accent2">
            <a:hueOff val="-2042300"/>
            <a:satOff val="-4002"/>
            <a:lumOff val="8333"/>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a:t>The final expenditure report (C5 contract attachment) is included as an excel tab within the approved B4 special project budget. </a:t>
          </a:r>
        </a:p>
      </dsp:txBody>
      <dsp:txXfrm>
        <a:off x="40962" y="1564053"/>
        <a:ext cx="6715751" cy="757185"/>
      </dsp:txXfrm>
    </dsp:sp>
    <dsp:sp modelId="{F80414F8-07E5-4F70-8391-409C2B777E36}">
      <dsp:nvSpPr>
        <dsp:cNvPr id="0" name=""/>
        <dsp:cNvSpPr/>
      </dsp:nvSpPr>
      <dsp:spPr>
        <a:xfrm>
          <a:off x="0" y="2405401"/>
          <a:ext cx="6797675" cy="839109"/>
        </a:xfrm>
        <a:prstGeom prst="roundRect">
          <a:avLst/>
        </a:prstGeom>
        <a:solidFill>
          <a:schemeClr val="accent2">
            <a:hueOff val="-4084601"/>
            <a:satOff val="-8004"/>
            <a:lumOff val="16666"/>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a:t>When submitting the final expenditure report, please provide the results of the special projects </a:t>
          </a:r>
          <a:r>
            <a:rPr lang="en-US" sz="1500" b="1" kern="1200"/>
            <a:t>via a separate PowerPoint presentation</a:t>
          </a:r>
          <a:r>
            <a:rPr lang="en-US" sz="1500" kern="1200"/>
            <a:t>. It is our intent to share this information on our website for the benefit of our other EOF campus programs. </a:t>
          </a:r>
        </a:p>
      </dsp:txBody>
      <dsp:txXfrm>
        <a:off x="40962" y="2446363"/>
        <a:ext cx="6715751" cy="757185"/>
      </dsp:txXfrm>
    </dsp:sp>
    <dsp:sp modelId="{96D734C8-8052-48DF-A20D-EE5E6F907C2B}">
      <dsp:nvSpPr>
        <dsp:cNvPr id="0" name=""/>
        <dsp:cNvSpPr/>
      </dsp:nvSpPr>
      <dsp:spPr>
        <a:xfrm>
          <a:off x="0" y="3287710"/>
          <a:ext cx="6797675" cy="839109"/>
        </a:xfrm>
        <a:prstGeom prst="roundRect">
          <a:avLst/>
        </a:prstGeom>
        <a:solidFill>
          <a:schemeClr val="accent2">
            <a:hueOff val="-6126901"/>
            <a:satOff val="-12005"/>
            <a:lumOff val="24998"/>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kern="1200"/>
            <a:t>Programs may be asked to present their respective presentation at a future EOF professional conference or EOF Board meeting. </a:t>
          </a:r>
        </a:p>
      </dsp:txBody>
      <dsp:txXfrm>
        <a:off x="40962" y="3328672"/>
        <a:ext cx="6715751" cy="757185"/>
      </dsp:txXfrm>
    </dsp:sp>
    <dsp:sp modelId="{FF791F4D-3A78-4D7C-839F-AB9F4076A63B}">
      <dsp:nvSpPr>
        <dsp:cNvPr id="0" name=""/>
        <dsp:cNvSpPr/>
      </dsp:nvSpPr>
      <dsp:spPr>
        <a:xfrm>
          <a:off x="0" y="4170020"/>
          <a:ext cx="6797675" cy="839109"/>
        </a:xfrm>
        <a:prstGeom prst="roundRect">
          <a:avLst/>
        </a:prstGeom>
        <a:solidFill>
          <a:schemeClr val="accent2">
            <a:hueOff val="-8169202"/>
            <a:satOff val="-16007"/>
            <a:lumOff val="33331"/>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l" defTabSz="666750">
            <a:lnSpc>
              <a:spcPct val="90000"/>
            </a:lnSpc>
            <a:spcBef>
              <a:spcPct val="0"/>
            </a:spcBef>
            <a:spcAft>
              <a:spcPct val="35000"/>
            </a:spcAft>
            <a:buNone/>
          </a:pPr>
          <a:r>
            <a:rPr lang="en-US" sz="1500" b="1" i="1" kern="1200"/>
            <a:t>FINAL EXPENDITURE REPORT DEADLINE: </a:t>
          </a:r>
          <a:r>
            <a:rPr lang="en-US" sz="1500" b="1" kern="1200"/>
            <a:t> </a:t>
          </a:r>
          <a:r>
            <a:rPr lang="en-US" sz="1500" b="1" i="1" kern="1200"/>
            <a:t>August 15, 2025</a:t>
          </a:r>
          <a:endParaRPr lang="en-US" sz="1500" kern="1200"/>
        </a:p>
      </dsp:txBody>
      <dsp:txXfrm>
        <a:off x="40962" y="4210982"/>
        <a:ext cx="6715751" cy="757185"/>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47158"/>
          </a:xfrm>
          <a:prstGeom prst="rect">
            <a:avLst/>
          </a:prstGeom>
        </p:spPr>
        <p:txBody>
          <a:bodyPr vert="horz" lIns="90098" tIns="45049" rIns="90098" bIns="45049" rtlCol="0"/>
          <a:lstStyle>
            <a:lvl1pPr algn="l">
              <a:defRPr sz="1200"/>
            </a:lvl1pPr>
          </a:lstStyle>
          <a:p>
            <a:endParaRPr lang="en-US"/>
          </a:p>
        </p:txBody>
      </p:sp>
      <p:sp>
        <p:nvSpPr>
          <p:cNvPr id="3" name="Date Placeholder 2"/>
          <p:cNvSpPr>
            <a:spLocks noGrp="1"/>
          </p:cNvSpPr>
          <p:nvPr>
            <p:ph type="dt" idx="1"/>
          </p:nvPr>
        </p:nvSpPr>
        <p:spPr>
          <a:xfrm>
            <a:off x="3884614" y="1"/>
            <a:ext cx="2971800" cy="447158"/>
          </a:xfrm>
          <a:prstGeom prst="rect">
            <a:avLst/>
          </a:prstGeom>
        </p:spPr>
        <p:txBody>
          <a:bodyPr vert="horz" lIns="90098" tIns="45049" rIns="90098" bIns="45049" rtlCol="0"/>
          <a:lstStyle>
            <a:lvl1pPr algn="r">
              <a:defRPr sz="1200"/>
            </a:lvl1pPr>
          </a:lstStyle>
          <a:p>
            <a:fld id="{243CA6BA-36E6-4D38-AD8D-EA2201055166}" type="datetimeFigureOut">
              <a:rPr lang="en-US" smtClean="0"/>
              <a:t>7/16/2024</a:t>
            </a:fld>
            <a:endParaRPr lang="en-US"/>
          </a:p>
        </p:txBody>
      </p:sp>
      <p:sp>
        <p:nvSpPr>
          <p:cNvPr id="4" name="Slide Image Placeholder 3"/>
          <p:cNvSpPr>
            <a:spLocks noGrp="1" noRot="1" noChangeAspect="1"/>
          </p:cNvSpPr>
          <p:nvPr>
            <p:ph type="sldImg" idx="2"/>
          </p:nvPr>
        </p:nvSpPr>
        <p:spPr>
          <a:xfrm>
            <a:off x="755650" y="1114425"/>
            <a:ext cx="5346700" cy="3006725"/>
          </a:xfrm>
          <a:prstGeom prst="rect">
            <a:avLst/>
          </a:prstGeom>
          <a:noFill/>
          <a:ln w="12700">
            <a:solidFill>
              <a:prstClr val="black"/>
            </a:solidFill>
          </a:ln>
        </p:spPr>
        <p:txBody>
          <a:bodyPr vert="horz" lIns="90098" tIns="45049" rIns="90098" bIns="45049" rtlCol="0" anchor="ctr"/>
          <a:lstStyle/>
          <a:p>
            <a:endParaRPr lang="en-US"/>
          </a:p>
        </p:txBody>
      </p:sp>
      <p:sp>
        <p:nvSpPr>
          <p:cNvPr id="5" name="Notes Placeholder 4"/>
          <p:cNvSpPr>
            <a:spLocks noGrp="1"/>
          </p:cNvSpPr>
          <p:nvPr>
            <p:ph type="body" sz="quarter" idx="3"/>
          </p:nvPr>
        </p:nvSpPr>
        <p:spPr>
          <a:xfrm>
            <a:off x="685800" y="4289009"/>
            <a:ext cx="5486400" cy="3509189"/>
          </a:xfrm>
          <a:prstGeom prst="rect">
            <a:avLst/>
          </a:prstGeom>
        </p:spPr>
        <p:txBody>
          <a:bodyPr vert="horz" lIns="90098" tIns="45049" rIns="90098" bIns="4504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465068"/>
            <a:ext cx="2971800" cy="447157"/>
          </a:xfrm>
          <a:prstGeom prst="rect">
            <a:avLst/>
          </a:prstGeom>
        </p:spPr>
        <p:txBody>
          <a:bodyPr vert="horz" lIns="90098" tIns="45049" rIns="90098" bIns="45049" rtlCol="0" anchor="b"/>
          <a:lstStyle>
            <a:lvl1pPr algn="l">
              <a:defRPr sz="1200"/>
            </a:lvl1pPr>
          </a:lstStyle>
          <a:p>
            <a:endParaRPr lang="en-US"/>
          </a:p>
        </p:txBody>
      </p:sp>
      <p:sp>
        <p:nvSpPr>
          <p:cNvPr id="7" name="Slide Number Placeholder 6"/>
          <p:cNvSpPr>
            <a:spLocks noGrp="1"/>
          </p:cNvSpPr>
          <p:nvPr>
            <p:ph type="sldNum" sz="quarter" idx="5"/>
          </p:nvPr>
        </p:nvSpPr>
        <p:spPr>
          <a:xfrm>
            <a:off x="3884614" y="8465068"/>
            <a:ext cx="2971800" cy="447157"/>
          </a:xfrm>
          <a:prstGeom prst="rect">
            <a:avLst/>
          </a:prstGeom>
        </p:spPr>
        <p:txBody>
          <a:bodyPr vert="horz" lIns="90098" tIns="45049" rIns="90098" bIns="45049" rtlCol="0" anchor="b"/>
          <a:lstStyle>
            <a:lvl1pPr algn="r">
              <a:defRPr sz="1200"/>
            </a:lvl1pPr>
          </a:lstStyle>
          <a:p>
            <a:fld id="{C79BE81F-3C3A-42DF-A4AA-2ED54A27E2C2}" type="slidenum">
              <a:rPr lang="en-US" smtClean="0"/>
              <a:t>‹#›</a:t>
            </a:fld>
            <a:endParaRPr lang="en-US"/>
          </a:p>
        </p:txBody>
      </p:sp>
    </p:spTree>
    <p:extLst>
      <p:ext uri="{BB962C8B-B14F-4D97-AF65-F5344CB8AC3E}">
        <p14:creationId xmlns:p14="http://schemas.microsoft.com/office/powerpoint/2010/main" val="7613233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baseline="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A84864E8-E54F-47BC-871B-CC59A5D2D243}"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4545581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79BE81F-3C3A-42DF-A4AA-2ED54A27E2C2}" type="slidenum">
              <a:rPr lang="en-US" smtClean="0"/>
              <a:t>15</a:t>
            </a:fld>
            <a:endParaRPr lang="en-US"/>
          </a:p>
        </p:txBody>
      </p:sp>
    </p:spTree>
    <p:extLst>
      <p:ext uri="{BB962C8B-B14F-4D97-AF65-F5344CB8AC3E}">
        <p14:creationId xmlns:p14="http://schemas.microsoft.com/office/powerpoint/2010/main" val="11348067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 name="Rectangle 7"/>
          <p:cNvSpPr/>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Date Placeholder 3"/>
          <p:cNvSpPr>
            <a:spLocks noGrp="1"/>
          </p:cNvSpPr>
          <p:nvPr>
            <p:ph type="dt" sz="half" idx="10"/>
          </p:nvPr>
        </p:nvSpPr>
        <p:spPr/>
        <p:txBody>
          <a:bodyPr/>
          <a:lstStyle/>
          <a:p>
            <a:fld id="{C6EEA81F-B7EF-46B4-8436-C82C09B89805}" type="datetime1">
              <a:rPr lang="en-US" smtClean="0"/>
              <a:t>7/16/2024</a:t>
            </a:fld>
            <a:endParaRPr lang="en-US"/>
          </a:p>
        </p:txBody>
      </p:sp>
      <p:sp>
        <p:nvSpPr>
          <p:cNvPr id="5" name="Footer Placeholder 4"/>
          <p:cNvSpPr>
            <a:spLocks noGrp="1"/>
          </p:cNvSpPr>
          <p:nvPr>
            <p:ph type="ftr" sz="quarter" idx="11"/>
          </p:nvPr>
        </p:nvSpPr>
        <p:spPr/>
        <p:txBody>
          <a:bodyPr/>
          <a:lstStyle/>
          <a:p>
            <a:r>
              <a:rPr lang="en-US"/>
              <a:t>EOF OSHE</a:t>
            </a:r>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53639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C667D31-5AB3-4C89-8BF3-55A8C72F9DA4}" type="datetime1">
              <a:rPr lang="en-US" smtClean="0"/>
              <a:t>7/1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12961666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459186-1302-4EAC-9D8F-39A57077B09C}" type="datetime1">
              <a:rPr lang="en-US" smtClean="0"/>
              <a:t>7/1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2339992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62" y="1627"/>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2" y="1627"/>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0EA04F7-0B3A-4296-9456-F3DED2D4CD17}"/>
              </a:ext>
            </a:extLst>
          </p:cNvPr>
          <p:cNvSpPr/>
          <p:nvPr userDrawn="1">
            <p:custDataLst>
              <p:tags r:id="rId2"/>
            </p:custDataLst>
          </p:nvPr>
        </p:nvSpPr>
        <p:spPr>
          <a:xfrm>
            <a:off x="0" y="0"/>
            <a:ext cx="215979"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a:solidFill>
                <a:schemeClr val="tx1"/>
              </a:solidFill>
              <a:latin typeface="Arial" panose="020B0604020202020204" pitchFamily="34" charset="0"/>
              <a:ea typeface="+mj-ea"/>
              <a:cs typeface="+mj-cs"/>
              <a:sym typeface="Arial" panose="020B0604020202020204" pitchFamily="34" charset="0"/>
            </a:endParaRPr>
          </a:p>
        </p:txBody>
      </p:sp>
      <p:pic>
        <p:nvPicPr>
          <p:cNvPr id="6" name="Picture 5">
            <a:extLst>
              <a:ext uri="{FF2B5EF4-FFF2-40B4-BE49-F238E27FC236}">
                <a16:creationId xmlns:a16="http://schemas.microsoft.com/office/drawing/2014/main" id="{5C29B239-9E09-4F6E-93E0-71C192754F3B}"/>
              </a:ext>
            </a:extLst>
          </p:cNvPr>
          <p:cNvPicPr>
            <a:picLocks noChangeAspect="1"/>
          </p:cNvPicPr>
          <p:nvPr/>
        </p:nvPicPr>
        <p:blipFill rotWithShape="1">
          <a:blip r:embed="rId6" cstate="hqprint">
            <a:clrChange>
              <a:clrFrom>
                <a:srgbClr val="FFFFFF"/>
              </a:clrFrom>
              <a:clrTo>
                <a:srgbClr val="FFFFFF">
                  <a:alpha val="0"/>
                </a:srgbClr>
              </a:clrTo>
            </a:clrChange>
            <a:duotone>
              <a:prstClr val="black"/>
              <a:schemeClr val="tx2">
                <a:tint val="45000"/>
                <a:satMod val="400000"/>
              </a:schemeClr>
            </a:duotone>
            <a:extLst>
              <a:ext uri="{28A0092B-C50C-407E-A947-70E740481C1C}">
                <a14:useLocalDpi xmlns:a14="http://schemas.microsoft.com/office/drawing/2010/main"/>
              </a:ext>
            </a:extLst>
          </a:blip>
          <a:srcRect l="-2396" r="-2472"/>
          <a:stretch/>
        </p:blipFill>
        <p:spPr>
          <a:xfrm>
            <a:off x="8204204" y="1157635"/>
            <a:ext cx="3544471" cy="4741616"/>
          </a:xfrm>
          <a:prstGeom prst="rect">
            <a:avLst/>
          </a:prstGeom>
          <a:effectLst>
            <a:glow rad="228600">
              <a:schemeClr val="accent3">
                <a:satMod val="175000"/>
                <a:alpha val="40000"/>
              </a:schemeClr>
            </a:glow>
          </a:effectLst>
        </p:spPr>
      </p:pic>
      <p:sp>
        <p:nvSpPr>
          <p:cNvPr id="9" name="Rectangle 8">
            <a:extLst>
              <a:ext uri="{FF2B5EF4-FFF2-40B4-BE49-F238E27FC236}">
                <a16:creationId xmlns:a16="http://schemas.microsoft.com/office/drawing/2014/main" id="{4C0B1310-EBA2-4546-BB11-440D5FBE0C14}"/>
              </a:ext>
            </a:extLst>
          </p:cNvPr>
          <p:cNvSpPr/>
          <p:nvPr/>
        </p:nvSpPr>
        <p:spPr>
          <a:xfrm>
            <a:off x="4323" y="950484"/>
            <a:ext cx="12187680" cy="5313553"/>
          </a:xfrm>
          <a:prstGeom prst="rect">
            <a:avLst/>
          </a:prstGeom>
          <a:gradFill flip="none" rotWithShape="1">
            <a:gsLst>
              <a:gs pos="0">
                <a:schemeClr val="tx2">
                  <a:alpha val="93000"/>
                </a:schemeClr>
              </a:gs>
              <a:gs pos="100000">
                <a:schemeClr val="accent3"/>
              </a:gs>
            </a:gsLst>
            <a:lin ang="10800000" scaled="1"/>
            <a:tileRect/>
          </a:gra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0" name="Rectangle 19">
            <a:extLst>
              <a:ext uri="{FF2B5EF4-FFF2-40B4-BE49-F238E27FC236}">
                <a16:creationId xmlns:a16="http://schemas.microsoft.com/office/drawing/2014/main" id="{C7588289-2413-4609-AC40-DB9D1DEE080A}"/>
              </a:ext>
            </a:extLst>
          </p:cNvPr>
          <p:cNvSpPr>
            <a:spLocks/>
          </p:cNvSpPr>
          <p:nvPr/>
        </p:nvSpPr>
        <p:spPr>
          <a:xfrm>
            <a:off x="4323" y="6101660"/>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solidFill>
                <a:schemeClr val="tx1"/>
              </a:solidFill>
            </a:endParaRPr>
          </a:p>
        </p:txBody>
      </p:sp>
      <p:sp>
        <p:nvSpPr>
          <p:cNvPr id="13314" name="Title"/>
          <p:cNvSpPr>
            <a:spLocks noGrp="1" noChangeArrowheads="1"/>
          </p:cNvSpPr>
          <p:nvPr>
            <p:ph type="ctrTitle"/>
          </p:nvPr>
        </p:nvSpPr>
        <p:spPr bwMode="auto">
          <a:xfrm>
            <a:off x="222185" y="2293543"/>
            <a:ext cx="7323053" cy="492443"/>
          </a:xfrm>
          <a:prstGeom prst="rect">
            <a:avLst/>
          </a:prstGeom>
        </p:spPr>
        <p:txBody>
          <a:bodyPr wrap="square">
            <a:spAutoFit/>
          </a:bodyPr>
          <a:lstStyle>
            <a:lvl1pPr>
              <a:defRPr sz="3200"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p:ph type="subTitle" idx="1"/>
          </p:nvPr>
        </p:nvSpPr>
        <p:spPr bwMode="auto">
          <a:xfrm>
            <a:off x="222185" y="3783153"/>
            <a:ext cx="7323053" cy="219820"/>
          </a:xfrm>
          <a:prstGeom prst="rect">
            <a:avLst/>
          </a:prstGeom>
        </p:spPr>
        <p:txBody>
          <a:bodyPr wrap="square">
            <a:spAutoFit/>
          </a:bodyPr>
          <a:lstStyle>
            <a:lvl1pPr>
              <a:defRPr sz="1400" cap="none" baseline="0">
                <a:solidFill>
                  <a:schemeClr val="bg1"/>
                </a:solidFill>
                <a:latin typeface="+mn-lt"/>
                <a:ea typeface="+mn-ea"/>
              </a:defRPr>
            </a:lvl1pPr>
          </a:lstStyle>
          <a:p>
            <a:pPr lvl="0" latinLnBrk="0"/>
            <a:r>
              <a:rPr lang="en-US" noProof="0"/>
              <a:t>Click to edit Master subtitle style</a:t>
            </a:r>
          </a:p>
        </p:txBody>
      </p:sp>
      <p:sp>
        <p:nvSpPr>
          <p:cNvPr id="57" name="Document type" hidden="1"/>
          <p:cNvSpPr txBox="1">
            <a:spLocks noChangeArrowheads="1"/>
          </p:cNvSpPr>
          <p:nvPr/>
        </p:nvSpPr>
        <p:spPr bwMode="auto">
          <a:xfrm>
            <a:off x="222185" y="5594104"/>
            <a:ext cx="7323053" cy="2198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a:solidFill>
                  <a:schemeClr val="bg1"/>
                </a:solidFill>
                <a:latin typeface="+mn-lt"/>
              </a:rPr>
              <a:t>Document type | Date</a:t>
            </a:r>
          </a:p>
        </p:txBody>
      </p:sp>
      <p:pic>
        <p:nvPicPr>
          <p:cNvPr id="7" name="Picture 6">
            <a:extLst>
              <a:ext uri="{FF2B5EF4-FFF2-40B4-BE49-F238E27FC236}">
                <a16:creationId xmlns:a16="http://schemas.microsoft.com/office/drawing/2014/main" id="{8282B9EC-6874-415A-B664-E290105921DD}"/>
              </a:ext>
            </a:extLst>
          </p:cNvPr>
          <p:cNvPicPr>
            <a:picLocks noChangeAspect="1"/>
          </p:cNvPicPr>
          <p:nvPr/>
        </p:nvPicPr>
        <p:blipFill rotWithShape="1">
          <a:blip r:embed="rId7" cstate="hqprint">
            <a:clrChange>
              <a:clrFrom>
                <a:srgbClr val="000000"/>
              </a:clrFrom>
              <a:clrTo>
                <a:srgbClr val="000000">
                  <a:alpha val="0"/>
                </a:srgbClr>
              </a:clrTo>
            </a:clrChange>
            <a:extLst>
              <a:ext uri="{28A0092B-C50C-407E-A947-70E740481C1C}">
                <a14:useLocalDpi xmlns:a14="http://schemas.microsoft.com/office/drawing/2010/main"/>
              </a:ext>
            </a:extLst>
          </a:blip>
          <a:srcRect l="-16666" r="-16666"/>
          <a:stretch/>
        </p:blipFill>
        <p:spPr>
          <a:xfrm>
            <a:off x="11236814" y="176675"/>
            <a:ext cx="794612" cy="635688"/>
          </a:xfrm>
          <a:prstGeom prst="rect">
            <a:avLst/>
          </a:prstGeom>
        </p:spPr>
      </p:pic>
      <p:sp>
        <p:nvSpPr>
          <p:cNvPr id="21" name="Rectangle 20">
            <a:extLst>
              <a:ext uri="{FF2B5EF4-FFF2-40B4-BE49-F238E27FC236}">
                <a16:creationId xmlns:a16="http://schemas.microsoft.com/office/drawing/2014/main" id="{23410A6C-3E96-4764-949B-69305DA17824}"/>
              </a:ext>
            </a:extLst>
          </p:cNvPr>
          <p:cNvSpPr>
            <a:spLocks/>
          </p:cNvSpPr>
          <p:nvPr/>
        </p:nvSpPr>
        <p:spPr>
          <a:xfrm>
            <a:off x="4323" y="1049365"/>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solidFill>
                <a:schemeClr val="tx1"/>
              </a:solidFill>
            </a:endParaRPr>
          </a:p>
        </p:txBody>
      </p:sp>
      <p:grpSp>
        <p:nvGrpSpPr>
          <p:cNvPr id="14" name="sticker">
            <a:extLst>
              <a:ext uri="{FF2B5EF4-FFF2-40B4-BE49-F238E27FC236}">
                <a16:creationId xmlns:a16="http://schemas.microsoft.com/office/drawing/2014/main" id="{DE2ECB66-7BCC-47F2-BB13-515B9C0C2278}"/>
              </a:ext>
            </a:extLst>
          </p:cNvPr>
          <p:cNvGrpSpPr/>
          <p:nvPr/>
        </p:nvGrpSpPr>
        <p:grpSpPr bwMode="auto">
          <a:xfrm>
            <a:off x="1729081" y="6484828"/>
            <a:ext cx="4912127" cy="193128"/>
            <a:chOff x="5053505" y="285750"/>
            <a:chExt cx="3684095" cy="193127"/>
          </a:xfrm>
        </p:grpSpPr>
        <p:sp>
          <p:nvSpPr>
            <p:cNvPr id="15" name="StickerRectangle">
              <a:extLst>
                <a:ext uri="{FF2B5EF4-FFF2-40B4-BE49-F238E27FC236}">
                  <a16:creationId xmlns:a16="http://schemas.microsoft.com/office/drawing/2014/main" id="{7BB78260-2409-4E92-A96C-290D1B8099EE}"/>
                </a:ext>
              </a:extLst>
            </p:cNvPr>
            <p:cNvSpPr>
              <a:spLocks noChangeArrowheads="1"/>
            </p:cNvSpPr>
            <p:nvPr/>
          </p:nvSpPr>
          <p:spPr bwMode="auto">
            <a:xfrm>
              <a:off x="5053505" y="285750"/>
              <a:ext cx="3684095" cy="193127"/>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1050" baseline="0">
                  <a:solidFill>
                    <a:srgbClr val="FF0000"/>
                  </a:solidFill>
                  <a:latin typeface="+mn-lt"/>
                  <a:ea typeface="+mn-ea"/>
                </a:rPr>
                <a:t>PRELIMINARY DRAFT </a:t>
              </a:r>
              <a:r>
                <a:rPr lang="en-US" sz="1050" baseline="0">
                  <a:solidFill>
                    <a:schemeClr val="accent6"/>
                  </a:solidFill>
                  <a:latin typeface="+mn-lt"/>
                  <a:ea typeface="+mn-ea"/>
                </a:rPr>
                <a:t>– PROPRIETARY, CONFIDENTIAL, PRE-DECISIONAL</a:t>
              </a:r>
            </a:p>
          </p:txBody>
        </p:sp>
        <p:cxnSp>
          <p:nvCxnSpPr>
            <p:cNvPr id="16" name="AutoShape 31">
              <a:extLst>
                <a:ext uri="{FF2B5EF4-FFF2-40B4-BE49-F238E27FC236}">
                  <a16:creationId xmlns:a16="http://schemas.microsoft.com/office/drawing/2014/main" id="{DFEF9400-E67A-465D-BBC5-EDD7B915EDEE}"/>
                </a:ext>
              </a:extLst>
            </p:cNvPr>
            <p:cNvCxnSpPr>
              <a:cxnSpLocks noChangeShapeType="1"/>
              <a:stCxn id="15" idx="2"/>
              <a:endCxn id="15" idx="4"/>
            </p:cNvCxnSpPr>
            <p:nvPr/>
          </p:nvCxnSpPr>
          <p:spPr bwMode="auto">
            <a:xfrm>
              <a:off x="5130787" y="285750"/>
              <a:ext cx="0" cy="189856"/>
            </a:xfrm>
            <a:prstGeom prst="straightConnector1">
              <a:avLst/>
            </a:prstGeom>
            <a:noFill/>
            <a:ln w="9525">
              <a:solidFill>
                <a:schemeClr val="accent6"/>
              </a:solidFill>
              <a:round/>
              <a:headEnd/>
              <a:tailEnd/>
            </a:ln>
            <a:extLst>
              <a:ext uri="{909E8E84-426E-40dd-AFC4-6F175D3DCCD1}">
                <a14:hiddenFill xmlns:a14="http://schemas.microsoft.com/office/drawing/2010/main" xmlns="">
                  <a:noFill/>
                </a14:hiddenFill>
              </a:ext>
            </a:extLst>
          </p:spPr>
        </p:cxnSp>
        <p:cxnSp>
          <p:nvCxnSpPr>
            <p:cNvPr id="17" name="AutoShape 32">
              <a:extLst>
                <a:ext uri="{FF2B5EF4-FFF2-40B4-BE49-F238E27FC236}">
                  <a16:creationId xmlns:a16="http://schemas.microsoft.com/office/drawing/2014/main" id="{EBA3B60F-435A-4C1B-8A6B-65C132354486}"/>
                </a:ext>
              </a:extLst>
            </p:cNvPr>
            <p:cNvCxnSpPr>
              <a:cxnSpLocks noChangeShapeType="1"/>
              <a:stCxn id="15" idx="4"/>
              <a:endCxn id="15" idx="6"/>
            </p:cNvCxnSpPr>
            <p:nvPr/>
          </p:nvCxnSpPr>
          <p:spPr bwMode="auto">
            <a:xfrm>
              <a:off x="5130787" y="475606"/>
              <a:ext cx="3606813" cy="0"/>
            </a:xfrm>
            <a:prstGeom prst="straightConnector1">
              <a:avLst/>
            </a:prstGeom>
            <a:noFill/>
            <a:ln w="25400">
              <a:solidFill>
                <a:schemeClr val="accent6"/>
              </a:solidFill>
              <a:round/>
              <a:headEnd/>
              <a:tailEnd/>
            </a:ln>
            <a:extLst>
              <a:ext uri="{909E8E84-426E-40dd-AFC4-6F175D3DCCD1}">
                <a14:hiddenFill xmlns:a14="http://schemas.microsoft.com/office/drawing/2010/main" xmlns="">
                  <a:noFill/>
                </a14:hiddenFill>
              </a:ext>
            </a:extLst>
          </p:spPr>
        </p:cxnSp>
      </p:grpSp>
      <p:pic>
        <p:nvPicPr>
          <p:cNvPr id="5" name="Picture 4">
            <a:extLst>
              <a:ext uri="{FF2B5EF4-FFF2-40B4-BE49-F238E27FC236}">
                <a16:creationId xmlns:a16="http://schemas.microsoft.com/office/drawing/2014/main" id="{2CCBE273-7441-4187-9338-F91608623FEF}"/>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74313" y="131261"/>
            <a:ext cx="2184071" cy="731178"/>
          </a:xfrm>
          <a:prstGeom prst="rect">
            <a:avLst/>
          </a:prstGeom>
        </p:spPr>
      </p:pic>
    </p:spTree>
    <p:extLst>
      <p:ext uri="{BB962C8B-B14F-4D97-AF65-F5344CB8AC3E}">
        <p14:creationId xmlns:p14="http://schemas.microsoft.com/office/powerpoint/2010/main" val="7155572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4">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10" name="Rectangle 9">
            <a:extLst>
              <a:ext uri="{FF2B5EF4-FFF2-40B4-BE49-F238E27FC236}">
                <a16:creationId xmlns:a16="http://schemas.microsoft.com/office/drawing/2014/main" id="{4938619B-E2E9-4FFA-8186-FAC9218A4A77}"/>
              </a:ext>
            </a:extLst>
          </p:cNvPr>
          <p:cNvSpPr/>
          <p:nvPr userDrawn="1"/>
        </p:nvSpPr>
        <p:spPr>
          <a:xfrm>
            <a:off x="1" y="3"/>
            <a:ext cx="12191999" cy="6858000"/>
          </a:xfrm>
          <a:prstGeom prst="rect">
            <a:avLst/>
          </a:prstGeom>
          <a:gradFill>
            <a:gsLst>
              <a:gs pos="100000">
                <a:schemeClr val="tx2">
                  <a:alpha val="30000"/>
                </a:schemeClr>
              </a:gs>
              <a:gs pos="49000">
                <a:srgbClr val="0070A2">
                  <a:alpha val="60000"/>
                </a:srgbClr>
              </a:gs>
              <a:gs pos="10000">
                <a:schemeClr val="accent4">
                  <a:alpha val="6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7" name="Title 1"/>
          <p:cNvSpPr>
            <a:spLocks noGrp="1"/>
          </p:cNvSpPr>
          <p:nvPr>
            <p:ph type="title" hasCustomPrompt="1"/>
          </p:nvPr>
        </p:nvSpPr>
        <p:spPr>
          <a:xfrm>
            <a:off x="2012488" y="2518997"/>
            <a:ext cx="6018285" cy="2006600"/>
          </a:xfrm>
          <a:prstGeom prst="rect">
            <a:avLst/>
          </a:prstGeom>
        </p:spPr>
        <p:txBody>
          <a:bodyPr lIns="0" tIns="0" rIns="0" bIns="0" anchor="t">
            <a:noAutofit/>
          </a:bodyPr>
          <a:lstStyle>
            <a:lvl1pPr algn="l">
              <a:defRPr sz="4400" b="0" i="0" cap="none">
                <a:solidFill>
                  <a:schemeClr val="bg1"/>
                </a:solidFill>
                <a:latin typeface="Franklin Gothic Demi Cond" panose="020B0706030402020204" pitchFamily="34" charset="0"/>
              </a:defRPr>
            </a:lvl1pPr>
          </a:lstStyle>
          <a:p>
            <a:r>
              <a:rPr lang="en-US"/>
              <a:t>CLICK TO EDIT MASTER TITLE STYLE</a:t>
            </a:r>
          </a:p>
        </p:txBody>
      </p:sp>
      <p:sp>
        <p:nvSpPr>
          <p:cNvPr id="8" name="Text Placeholder 2"/>
          <p:cNvSpPr>
            <a:spLocks noGrp="1"/>
          </p:cNvSpPr>
          <p:nvPr>
            <p:ph type="body" idx="1" hasCustomPrompt="1"/>
          </p:nvPr>
        </p:nvSpPr>
        <p:spPr>
          <a:xfrm>
            <a:off x="2012490" y="4639902"/>
            <a:ext cx="4254074" cy="292100"/>
          </a:xfrm>
          <a:prstGeom prst="rect">
            <a:avLst/>
          </a:prstGeom>
        </p:spPr>
        <p:txBody>
          <a:bodyPr lIns="0" tIns="0" rIns="0" bIns="0">
            <a:noAutofit/>
          </a:bodyPr>
          <a:lstStyle>
            <a:lvl1pPr marL="0" indent="0" algn="l">
              <a:buNone/>
              <a:defRPr sz="1800" b="1">
                <a:solidFill>
                  <a:schemeClr val="bg1"/>
                </a:solidFill>
                <a:latin typeface="Calibri" panose="020F0502020204030204" pitchFamily="34" charset="0"/>
                <a:cs typeface="Calibri" panose="020F0502020204030204" pitchFamily="34" charset="0"/>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1" name="Right Triangle 10">
            <a:extLst>
              <a:ext uri="{FF2B5EF4-FFF2-40B4-BE49-F238E27FC236}">
                <a16:creationId xmlns:a16="http://schemas.microsoft.com/office/drawing/2014/main" id="{5974593C-FC9F-4C8A-8EDA-51699DF0BAFA}"/>
              </a:ext>
            </a:extLst>
          </p:cNvPr>
          <p:cNvSpPr/>
          <p:nvPr userDrawn="1"/>
        </p:nvSpPr>
        <p:spPr>
          <a:xfrm rot="13500000">
            <a:off x="-1265973" y="2256305"/>
            <a:ext cx="2531946" cy="253198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grpSp>
        <p:nvGrpSpPr>
          <p:cNvPr id="18" name="Group 17">
            <a:extLst>
              <a:ext uri="{FF2B5EF4-FFF2-40B4-BE49-F238E27FC236}">
                <a16:creationId xmlns:a16="http://schemas.microsoft.com/office/drawing/2014/main" id="{56D5EB51-637A-42FF-93C2-2C0356B5858F}"/>
              </a:ext>
            </a:extLst>
          </p:cNvPr>
          <p:cNvGrpSpPr/>
          <p:nvPr userDrawn="1"/>
        </p:nvGrpSpPr>
        <p:grpSpPr>
          <a:xfrm>
            <a:off x="6795257" y="-830595"/>
            <a:ext cx="6235461" cy="8430219"/>
            <a:chOff x="6172201" y="-898208"/>
            <a:chExt cx="7620000" cy="10302239"/>
          </a:xfrm>
        </p:grpSpPr>
        <p:sp>
          <p:nvSpPr>
            <p:cNvPr id="13" name="Diamond 12">
              <a:extLst>
                <a:ext uri="{FF2B5EF4-FFF2-40B4-BE49-F238E27FC236}">
                  <a16:creationId xmlns:a16="http://schemas.microsoft.com/office/drawing/2014/main" id="{D1F9291F-2A24-44B6-A5C8-081541BC6E72}"/>
                </a:ext>
              </a:extLst>
            </p:cNvPr>
            <p:cNvSpPr/>
            <p:nvPr userDrawn="1"/>
          </p:nvSpPr>
          <p:spPr>
            <a:xfrm>
              <a:off x="8823961" y="1776411"/>
              <a:ext cx="4968240" cy="4968240"/>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5" name="Diamond 14">
              <a:extLst>
                <a:ext uri="{FF2B5EF4-FFF2-40B4-BE49-F238E27FC236}">
                  <a16:creationId xmlns:a16="http://schemas.microsoft.com/office/drawing/2014/main" id="{B14089A9-3213-4D72-8D79-07EE32669CB2}"/>
                </a:ext>
              </a:extLst>
            </p:cNvPr>
            <p:cNvSpPr/>
            <p:nvPr userDrawn="1"/>
          </p:nvSpPr>
          <p:spPr>
            <a:xfrm>
              <a:off x="6172201" y="-898208"/>
              <a:ext cx="4968240" cy="4968240"/>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6" name="Diamond 15">
              <a:extLst>
                <a:ext uri="{FF2B5EF4-FFF2-40B4-BE49-F238E27FC236}">
                  <a16:creationId xmlns:a16="http://schemas.microsoft.com/office/drawing/2014/main" id="{B9C879A2-055D-48ED-AEC5-CF04DFEA9A9A}"/>
                </a:ext>
              </a:extLst>
            </p:cNvPr>
            <p:cNvSpPr/>
            <p:nvPr userDrawn="1"/>
          </p:nvSpPr>
          <p:spPr>
            <a:xfrm>
              <a:off x="6172201" y="4435791"/>
              <a:ext cx="4968240" cy="4968240"/>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grpSp>
    </p:spTree>
    <p:extLst>
      <p:ext uri="{BB962C8B-B14F-4D97-AF65-F5344CB8AC3E}">
        <p14:creationId xmlns:p14="http://schemas.microsoft.com/office/powerpoint/2010/main" val="3909686645"/>
      </p:ext>
    </p:extLst>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1_Title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pic>
        <p:nvPicPr>
          <p:cNvPr id="15" name="Picture 14">
            <a:extLst>
              <a:ext uri="{FF2B5EF4-FFF2-40B4-BE49-F238E27FC236}">
                <a16:creationId xmlns:a16="http://schemas.microsoft.com/office/drawing/2014/main" id="{A9F3FB34-7ACF-4158-AD78-AA668C30113E}"/>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849" r="19459" b="30194"/>
          <a:stretch/>
        </p:blipFill>
        <p:spPr>
          <a:xfrm>
            <a:off x="3" y="3"/>
            <a:ext cx="12192000" cy="6858000"/>
          </a:xfrm>
          <a:prstGeom prst="rect">
            <a:avLst/>
          </a:prstGeom>
        </p:spPr>
      </p:pic>
      <p:sp>
        <p:nvSpPr>
          <p:cNvPr id="10" name="Rectangle 9">
            <a:extLst>
              <a:ext uri="{FF2B5EF4-FFF2-40B4-BE49-F238E27FC236}">
                <a16:creationId xmlns:a16="http://schemas.microsoft.com/office/drawing/2014/main" id="{2A6FD7A2-93A9-405A-989B-15DB6E5CF0FF}"/>
              </a:ext>
            </a:extLst>
          </p:cNvPr>
          <p:cNvSpPr/>
          <p:nvPr userDrawn="1"/>
        </p:nvSpPr>
        <p:spPr>
          <a:xfrm>
            <a:off x="1" y="3"/>
            <a:ext cx="12191999" cy="6858000"/>
          </a:xfrm>
          <a:prstGeom prst="rect">
            <a:avLst/>
          </a:prstGeom>
          <a:gradFill>
            <a:gsLst>
              <a:gs pos="0">
                <a:schemeClr val="accent1"/>
              </a:gs>
              <a:gs pos="100000">
                <a:schemeClr val="accent1">
                  <a:alpha val="4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7" name="Title 1"/>
          <p:cNvSpPr>
            <a:spLocks noGrp="1"/>
          </p:cNvSpPr>
          <p:nvPr>
            <p:ph type="title" hasCustomPrompt="1"/>
          </p:nvPr>
        </p:nvSpPr>
        <p:spPr>
          <a:xfrm>
            <a:off x="2028040" y="2328006"/>
            <a:ext cx="4573730" cy="2006600"/>
          </a:xfrm>
          <a:prstGeom prst="rect">
            <a:avLst/>
          </a:prstGeom>
        </p:spPr>
        <p:txBody>
          <a:bodyPr lIns="0" tIns="0" rIns="0" bIns="0" anchor="t">
            <a:noAutofit/>
          </a:bodyPr>
          <a:lstStyle>
            <a:lvl1pPr algn="l">
              <a:defRPr sz="4400" b="1" i="0" cap="none">
                <a:solidFill>
                  <a:schemeClr val="bg1"/>
                </a:solidFill>
                <a:latin typeface="Franklin Gothic Demi Cond" panose="020B0603020102020204" pitchFamily="34" charset="0"/>
              </a:defRPr>
            </a:lvl1pPr>
          </a:lstStyle>
          <a:p>
            <a:r>
              <a:rPr lang="en-US"/>
              <a:t>CLICK TO EDIT MASTER TITLE STYLE</a:t>
            </a:r>
          </a:p>
        </p:txBody>
      </p:sp>
      <p:sp>
        <p:nvSpPr>
          <p:cNvPr id="8" name="Text Placeholder 2"/>
          <p:cNvSpPr>
            <a:spLocks noGrp="1"/>
          </p:cNvSpPr>
          <p:nvPr>
            <p:ph type="body" idx="1" hasCustomPrompt="1"/>
          </p:nvPr>
        </p:nvSpPr>
        <p:spPr>
          <a:xfrm>
            <a:off x="2028040" y="4360010"/>
            <a:ext cx="4254074" cy="292100"/>
          </a:xfrm>
          <a:prstGeom prst="rect">
            <a:avLst/>
          </a:prstGeom>
        </p:spPr>
        <p:txBody>
          <a:bodyPr lIns="0" tIns="0" rIns="0" bIns="0">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3" name="Right Triangle 12">
            <a:extLst>
              <a:ext uri="{FF2B5EF4-FFF2-40B4-BE49-F238E27FC236}">
                <a16:creationId xmlns:a16="http://schemas.microsoft.com/office/drawing/2014/main" id="{DC7F9BDD-7BF0-452F-B291-5BEA7995727F}"/>
              </a:ext>
            </a:extLst>
          </p:cNvPr>
          <p:cNvSpPr>
            <a:spLocks/>
          </p:cNvSpPr>
          <p:nvPr userDrawn="1"/>
        </p:nvSpPr>
        <p:spPr>
          <a:xfrm rot="13500000">
            <a:off x="-1265973" y="2163007"/>
            <a:ext cx="2531946" cy="2531984"/>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32">
              <a:solidFill>
                <a:schemeClr val="tx1"/>
              </a:solidFill>
            </a:endParaRPr>
          </a:p>
        </p:txBody>
      </p:sp>
      <p:sp>
        <p:nvSpPr>
          <p:cNvPr id="22" name="Freeform: Shape 21">
            <a:extLst>
              <a:ext uri="{FF2B5EF4-FFF2-40B4-BE49-F238E27FC236}">
                <a16:creationId xmlns:a16="http://schemas.microsoft.com/office/drawing/2014/main" id="{03203575-C959-44AD-8106-94D9374630B1}"/>
              </a:ext>
            </a:extLst>
          </p:cNvPr>
          <p:cNvSpPr/>
          <p:nvPr userDrawn="1"/>
        </p:nvSpPr>
        <p:spPr>
          <a:xfrm>
            <a:off x="6176612" y="1642962"/>
            <a:ext cx="6381500" cy="3578365"/>
          </a:xfrm>
          <a:custGeom>
            <a:avLst/>
            <a:gdLst>
              <a:gd name="connsiteX0" fmla="*/ 0 w 6254369"/>
              <a:gd name="connsiteY0" fmla="*/ 0 h 3507129"/>
              <a:gd name="connsiteX1" fmla="*/ 6254369 w 6254369"/>
              <a:gd name="connsiteY1" fmla="*/ 0 h 3507129"/>
              <a:gd name="connsiteX2" fmla="*/ 6254369 w 6254369"/>
              <a:gd name="connsiteY2" fmla="*/ 3507129 h 3507129"/>
              <a:gd name="connsiteX3" fmla="*/ 0 w 6254369"/>
              <a:gd name="connsiteY3" fmla="*/ 3507129 h 3507129"/>
              <a:gd name="connsiteX4" fmla="*/ 0 w 6254369"/>
              <a:gd name="connsiteY4" fmla="*/ 3498898 h 3507129"/>
              <a:gd name="connsiteX5" fmla="*/ 1746485 w 6254369"/>
              <a:gd name="connsiteY5" fmla="*/ 1752413 h 3507129"/>
              <a:gd name="connsiteX6" fmla="*/ 0 w 6254369"/>
              <a:gd name="connsiteY6" fmla="*/ 5928 h 3507129"/>
              <a:gd name="connsiteX7" fmla="*/ 0 w 6254369"/>
              <a:gd name="connsiteY7" fmla="*/ 0 h 3507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54369" h="3507129">
                <a:moveTo>
                  <a:pt x="0" y="0"/>
                </a:moveTo>
                <a:lnTo>
                  <a:pt x="6254369" y="0"/>
                </a:lnTo>
                <a:lnTo>
                  <a:pt x="6254369" y="3507129"/>
                </a:lnTo>
                <a:lnTo>
                  <a:pt x="0" y="3507129"/>
                </a:lnTo>
                <a:lnTo>
                  <a:pt x="0" y="3498898"/>
                </a:lnTo>
                <a:lnTo>
                  <a:pt x="1746485" y="1752413"/>
                </a:lnTo>
                <a:lnTo>
                  <a:pt x="0" y="5928"/>
                </a:lnTo>
                <a:lnTo>
                  <a:pt x="0" y="0"/>
                </a:lnTo>
                <a:close/>
              </a:path>
            </a:pathLst>
          </a:custGeom>
          <a:gradFill>
            <a:gsLst>
              <a:gs pos="12000">
                <a:schemeClr val="bg1"/>
              </a:gs>
              <a:gs pos="100000">
                <a:schemeClr val="bg1">
                  <a:alpha val="7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Tree>
    <p:extLst>
      <p:ext uri="{BB962C8B-B14F-4D97-AF65-F5344CB8AC3E}">
        <p14:creationId xmlns:p14="http://schemas.microsoft.com/office/powerpoint/2010/main" val="4274413967"/>
      </p:ext>
    </p:extLst>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7" name="Title 1"/>
          <p:cNvSpPr>
            <a:spLocks noGrp="1"/>
          </p:cNvSpPr>
          <p:nvPr>
            <p:ph type="title"/>
          </p:nvPr>
        </p:nvSpPr>
        <p:spPr>
          <a:xfrm>
            <a:off x="1984076" y="2514600"/>
            <a:ext cx="6212038" cy="2006600"/>
          </a:xfrm>
          <a:prstGeom prst="rect">
            <a:avLst/>
          </a:prstGeom>
        </p:spPr>
        <p:txBody>
          <a:bodyPr lIns="0" tIns="0" rIns="0" bIns="0" anchor="ctr">
            <a:noAutofit/>
          </a:bodyPr>
          <a:lstStyle>
            <a:lvl1pPr algn="l">
              <a:defRPr sz="4400" b="1" i="0" cap="none">
                <a:solidFill>
                  <a:schemeClr val="bg1"/>
                </a:solidFill>
                <a:latin typeface="Franklin Gothic Demi Cond" panose="020B0603020102020204" pitchFamily="34" charset="0"/>
              </a:defRPr>
            </a:lvl1pPr>
          </a:lstStyle>
          <a:p>
            <a:r>
              <a:rPr lang="en-US"/>
              <a:t>Click to edit Master title style</a:t>
            </a:r>
          </a:p>
        </p:txBody>
      </p:sp>
      <p:sp>
        <p:nvSpPr>
          <p:cNvPr id="8" name="Text Placeholder 2"/>
          <p:cNvSpPr>
            <a:spLocks noGrp="1"/>
          </p:cNvSpPr>
          <p:nvPr>
            <p:ph type="body" idx="1" hasCustomPrompt="1"/>
          </p:nvPr>
        </p:nvSpPr>
        <p:spPr>
          <a:xfrm>
            <a:off x="1984075" y="4546605"/>
            <a:ext cx="6212038" cy="292100"/>
          </a:xfrm>
          <a:prstGeom prst="rect">
            <a:avLst/>
          </a:prstGeom>
        </p:spPr>
        <p:txBody>
          <a:bodyPr lIns="0" tIns="0" rIns="0" bIns="0">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2" name="Right Triangle 11">
            <a:extLst>
              <a:ext uri="{FF2B5EF4-FFF2-40B4-BE49-F238E27FC236}">
                <a16:creationId xmlns:a16="http://schemas.microsoft.com/office/drawing/2014/main" id="{55EB5704-3C92-4CFB-9F02-9B3474CC089E}"/>
              </a:ext>
            </a:extLst>
          </p:cNvPr>
          <p:cNvSpPr/>
          <p:nvPr userDrawn="1"/>
        </p:nvSpPr>
        <p:spPr>
          <a:xfrm rot="13500000">
            <a:off x="-1265973" y="2256305"/>
            <a:ext cx="2531946" cy="253198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4" name="Diamond 13">
            <a:extLst>
              <a:ext uri="{FF2B5EF4-FFF2-40B4-BE49-F238E27FC236}">
                <a16:creationId xmlns:a16="http://schemas.microsoft.com/office/drawing/2014/main" id="{81BA5C6B-9E0B-42AA-B1AC-60A81662DB64}"/>
              </a:ext>
            </a:extLst>
          </p:cNvPr>
          <p:cNvSpPr/>
          <p:nvPr userDrawn="1"/>
        </p:nvSpPr>
        <p:spPr>
          <a:xfrm>
            <a:off x="8772278" y="-306575"/>
            <a:ext cx="7471262" cy="7471152"/>
          </a:xfrm>
          <a:prstGeom prst="diamond">
            <a:avLst/>
          </a:prstGeom>
          <a:blipFill>
            <a:blip r:embed="rId6"/>
            <a:stretch>
              <a:fillRect l="-34727" t="1316" r="-16059" b="10"/>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5" name="Diamond 14">
            <a:extLst>
              <a:ext uri="{FF2B5EF4-FFF2-40B4-BE49-F238E27FC236}">
                <a16:creationId xmlns:a16="http://schemas.microsoft.com/office/drawing/2014/main" id="{3E9E5CB0-93BB-4F15-B647-6D9F07D7DA5F}"/>
              </a:ext>
            </a:extLst>
          </p:cNvPr>
          <p:cNvSpPr/>
          <p:nvPr userDrawn="1"/>
        </p:nvSpPr>
        <p:spPr>
          <a:xfrm>
            <a:off x="4784551" y="-4317163"/>
            <a:ext cx="7471262" cy="7471152"/>
          </a:xfrm>
          <a:prstGeom prst="diamond">
            <a:avLst/>
          </a:prstGeom>
          <a:blipFill>
            <a:blip r:embed="rId7"/>
            <a:stretch>
              <a:fillRect l="1281" t="39900" r="-2143" b="-854"/>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a:p>
        </p:txBody>
      </p:sp>
      <p:sp>
        <p:nvSpPr>
          <p:cNvPr id="16" name="Diamond 15">
            <a:extLst>
              <a:ext uri="{FF2B5EF4-FFF2-40B4-BE49-F238E27FC236}">
                <a16:creationId xmlns:a16="http://schemas.microsoft.com/office/drawing/2014/main" id="{83188235-7FD1-4F4F-8210-FAC6B8DD0085}"/>
              </a:ext>
            </a:extLst>
          </p:cNvPr>
          <p:cNvSpPr/>
          <p:nvPr userDrawn="1"/>
        </p:nvSpPr>
        <p:spPr>
          <a:xfrm>
            <a:off x="4784551" y="3704016"/>
            <a:ext cx="7471262" cy="7471152"/>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a:p>
        </p:txBody>
      </p:sp>
    </p:spTree>
    <p:extLst>
      <p:ext uri="{BB962C8B-B14F-4D97-AF65-F5344CB8AC3E}">
        <p14:creationId xmlns:p14="http://schemas.microsoft.com/office/powerpoint/2010/main" val="2819891044"/>
      </p:ext>
    </p:extLst>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rack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userDrawn="1">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60C9AF-AEE9-44CC-BA6A-A3C6CF5AFD68}"/>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9BEB380B-917C-45EF-BD98-A4E18484D47A}"/>
              </a:ext>
            </a:extLst>
          </p:cNvPr>
          <p:cNvSpPr>
            <a:spLocks noGrp="1"/>
          </p:cNvSpPr>
          <p:nvPr>
            <p:ph type="title"/>
          </p:nvPr>
        </p:nvSpPr>
        <p:spPr/>
        <p:txBody>
          <a:bodyPr/>
          <a:lstStyle/>
          <a:p>
            <a:r>
              <a:rPr lang="en-US"/>
              <a:t>Click to edit Master title style</a:t>
            </a:r>
          </a:p>
        </p:txBody>
      </p:sp>
      <p:sp>
        <p:nvSpPr>
          <p:cNvPr id="7" name="Rectangle 6">
            <a:extLst>
              <a:ext uri="{FF2B5EF4-FFF2-40B4-BE49-F238E27FC236}">
                <a16:creationId xmlns:a16="http://schemas.microsoft.com/office/drawing/2014/main" id="{410B26E0-891E-4B4A-AE1A-C18AEFD16AB1}"/>
              </a:ext>
            </a:extLst>
          </p:cNvPr>
          <p:cNvSpPr/>
          <p:nvPr userDrawn="1"/>
        </p:nvSpPr>
        <p:spPr>
          <a:xfrm>
            <a:off x="155498" y="54423"/>
            <a:ext cx="3078856" cy="17882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Tree>
    <p:extLst>
      <p:ext uri="{BB962C8B-B14F-4D97-AF65-F5344CB8AC3E}">
        <p14:creationId xmlns:p14="http://schemas.microsoft.com/office/powerpoint/2010/main" val="39066092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sic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39309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E09F1DE-D877-4E6E-B8AA-572F7FCAE7DC}" type="datetime1">
              <a:rPr lang="en-US" smtClean="0"/>
              <a:t>7/1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6114565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1">
                <a:solidFill>
                  <a:schemeClr val="tx1">
                    <a:lumMod val="85000"/>
                    <a:lumOff val="15000"/>
                  </a:schemeClr>
                </a:solidFill>
              </a:defRPr>
            </a:lvl1pPr>
          </a:lstStyle>
          <a:p>
            <a:r>
              <a:rPr lang="en-US"/>
              <a:t>Click to edit Master title style</a:t>
            </a:r>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A95A3D2-9B7C-41D3-A832-2636C51396EB}" type="datetime1">
              <a:rPr lang="en-US" smtClean="0"/>
              <a:t>7/1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7272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1097280" y="1845734"/>
            <a:ext cx="4937760" cy="40233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C7E60C-7DFE-4EE6-B145-D4004A9DBBF8}" type="datetime1">
              <a:rPr lang="en-US" smtClean="0"/>
              <a:t>7/1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39471820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5"/>
            <a:ext cx="493776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6454878-A5AC-4C3C-BD28-AAE8A6D179D6}" type="datetime1">
              <a:rPr lang="en-US" smtClean="0"/>
              <a:t>7/16/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28689778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154083" y="520544"/>
            <a:ext cx="10058400" cy="818148"/>
          </a:xfrm>
        </p:spPr>
        <p:txBody>
          <a:bodyPr/>
          <a:lstStyle>
            <a:lvl1pPr algn="ctr">
              <a:lnSpc>
                <a:spcPct val="100000"/>
              </a:lnSpc>
              <a:defRPr b="1"/>
            </a:lvl1pPr>
          </a:lstStyle>
          <a:p>
            <a:r>
              <a:rPr lang="en-US"/>
              <a:t>Click to edit Master title style</a:t>
            </a:r>
          </a:p>
        </p:txBody>
      </p:sp>
      <p:sp>
        <p:nvSpPr>
          <p:cNvPr id="3" name="Date Placeholder 2"/>
          <p:cNvSpPr>
            <a:spLocks noGrp="1"/>
          </p:cNvSpPr>
          <p:nvPr>
            <p:ph type="dt" sz="half" idx="10"/>
          </p:nvPr>
        </p:nvSpPr>
        <p:spPr/>
        <p:txBody>
          <a:bodyPr/>
          <a:lstStyle/>
          <a:p>
            <a:fld id="{4B3BA3EF-0E48-4C0D-8F72-6C619038854F}" type="datetime1">
              <a:rPr lang="en-US" smtClean="0"/>
              <a:t>7/16/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20512673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22BB4DCC-8204-4F0B-B9F9-F20F748E63D8}" type="datetime1">
              <a:rPr lang="en-US" smtClean="0"/>
              <a:t>7/16/2024</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3301778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2CD6A6F1-CA5B-458F-82C0-7AC3F59DC300}" type="datetime1">
              <a:rPr lang="en-US" smtClean="0"/>
              <a:t>7/16/2024</a:t>
            </a:fld>
            <a:endParaRPr lang="en-US"/>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a:solidFill>
                <a:srgbClr val="455F51"/>
              </a:solidFill>
            </a:endParaRPr>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82E0CA47-81CF-4842-A6CE-0A6037062406}" type="slidenum">
              <a:rPr lang="en-US" smtClean="0">
                <a:solidFill>
                  <a:srgbClr val="455F51"/>
                </a:solidFill>
              </a:rPr>
              <a:pPr/>
              <a:t>‹#›</a:t>
            </a:fld>
            <a:endParaRPr lang="en-US">
              <a:solidFill>
                <a:srgbClr val="455F51"/>
              </a:solidFill>
            </a:endParaRPr>
          </a:p>
        </p:txBody>
      </p:sp>
    </p:spTree>
    <p:extLst>
      <p:ext uri="{BB962C8B-B14F-4D97-AF65-F5344CB8AC3E}">
        <p14:creationId xmlns:p14="http://schemas.microsoft.com/office/powerpoint/2010/main" val="35083792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tIns="0" bIns="0" anchor="b">
            <a:noAutofit/>
          </a:bodyPr>
          <a:lstStyle>
            <a:lvl1pPr>
              <a:defRPr sz="3600" b="1">
                <a:solidFill>
                  <a:srgbClr val="FFFFFF"/>
                </a:solidFill>
              </a:defRPr>
            </a:lvl1pPr>
          </a:lstStyle>
          <a:p>
            <a:r>
              <a:rPr lang="en-US"/>
              <a:t>Click to edit Master title style</a:t>
            </a:r>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A3501B8-8F48-4AB5-86A6-4D3168F424DB}" type="datetime1">
              <a:rPr lang="en-US" smtClean="0"/>
              <a:t>7/16/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2E0CA47-81CF-4842-A6CE-0A6037062406}" type="slidenum">
              <a:rPr lang="en-US" smtClean="0"/>
              <a:pPr/>
              <a:t>‹#›</a:t>
            </a:fld>
            <a:endParaRPr lang="en-US"/>
          </a:p>
        </p:txBody>
      </p:sp>
    </p:spTree>
    <p:extLst>
      <p:ext uri="{BB962C8B-B14F-4D97-AF65-F5344CB8AC3E}">
        <p14:creationId xmlns:p14="http://schemas.microsoft.com/office/powerpoint/2010/main" val="2296048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tags" Target="../tags/tag19.xml"/><Relationship Id="rId21" Type="http://schemas.openxmlformats.org/officeDocument/2006/relationships/tags" Target="../tags/tag14.xml"/><Relationship Id="rId34" Type="http://schemas.openxmlformats.org/officeDocument/2006/relationships/tags" Target="../tags/tag27.xml"/><Relationship Id="rId7" Type="http://schemas.openxmlformats.org/officeDocument/2006/relationships/theme" Target="../theme/theme2.x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tags" Target="../tags/tag18.xml"/><Relationship Id="rId33" Type="http://schemas.openxmlformats.org/officeDocument/2006/relationships/tags" Target="../tags/tag26.xml"/><Relationship Id="rId38"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tags" Target="../tags/tag9.xml"/><Relationship Id="rId20" Type="http://schemas.openxmlformats.org/officeDocument/2006/relationships/tags" Target="../tags/tag13.xml"/><Relationship Id="rId29" Type="http://schemas.openxmlformats.org/officeDocument/2006/relationships/tags" Target="../tags/tag2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4.xml"/><Relationship Id="rId24" Type="http://schemas.openxmlformats.org/officeDocument/2006/relationships/tags" Target="../tags/tag17.xml"/><Relationship Id="rId32" Type="http://schemas.openxmlformats.org/officeDocument/2006/relationships/tags" Target="../tags/tag25.xml"/><Relationship Id="rId37" Type="http://schemas.openxmlformats.org/officeDocument/2006/relationships/oleObject" Target="../embeddings/oleObject1.bin"/><Relationship Id="rId5" Type="http://schemas.openxmlformats.org/officeDocument/2006/relationships/slideLayout" Target="../slideLayouts/slideLayout16.xml"/><Relationship Id="rId15" Type="http://schemas.openxmlformats.org/officeDocument/2006/relationships/tags" Target="../tags/tag8.xml"/><Relationship Id="rId23" Type="http://schemas.openxmlformats.org/officeDocument/2006/relationships/tags" Target="../tags/tag16.xml"/><Relationship Id="rId28" Type="http://schemas.openxmlformats.org/officeDocument/2006/relationships/tags" Target="../tags/tag21.xml"/><Relationship Id="rId36" Type="http://schemas.openxmlformats.org/officeDocument/2006/relationships/tags" Target="../tags/tag29.xml"/><Relationship Id="rId10" Type="http://schemas.openxmlformats.org/officeDocument/2006/relationships/tags" Target="../tags/tag3.xml"/><Relationship Id="rId19" Type="http://schemas.openxmlformats.org/officeDocument/2006/relationships/tags" Target="../tags/tag12.xml"/><Relationship Id="rId31" Type="http://schemas.openxmlformats.org/officeDocument/2006/relationships/tags" Target="../tags/tag24.xml"/><Relationship Id="rId4" Type="http://schemas.openxmlformats.org/officeDocument/2006/relationships/slideLayout" Target="../slideLayouts/slideLayout15.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tags" Target="../tags/tag20.xml"/><Relationship Id="rId30" Type="http://schemas.openxmlformats.org/officeDocument/2006/relationships/tags" Target="../tags/tag23.xml"/><Relationship Id="rId35" Type="http://schemas.openxmlformats.org/officeDocument/2006/relationships/tags" Target="../tags/tag28.xml"/><Relationship Id="rId8" Type="http://schemas.openxmlformats.org/officeDocument/2006/relationships/tags" Target="../tags/tag1.xml"/><Relationship Id="rId3"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97F5152D-6D7C-4DE3-8E13-5A1FDEF89588}" type="datetime1">
              <a:rPr lang="en-US" smtClean="0"/>
              <a:t>7/16/2024</a:t>
            </a:fld>
            <a:endParaRPr lang="en-US"/>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pPr>
              <a:buClr>
                <a:srgbClr val="000000"/>
              </a:buClr>
              <a:buFont typeface="Arial"/>
              <a:buNone/>
            </a:pPr>
            <a:fld id="{00000000-1234-1234-1234-123412341234}" type="slidenum">
              <a:rPr lang="en" kern="0" smtClean="0"/>
              <a:pPr>
                <a:buClr>
                  <a:srgbClr val="000000"/>
                </a:buClr>
                <a:buFont typeface="Arial"/>
                <a:buNone/>
              </a:pPr>
              <a:t>‹#›</a:t>
            </a:fld>
            <a:endParaRPr lang="en" kern="0"/>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091765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ftr="0" dt="0"/>
  <p:txStyles>
    <p:titleStyle>
      <a:lvl1pPr algn="l" defTabSz="914400" rtl="0" eaLnBrk="1" latinLnBrk="0" hangingPunct="1">
        <a:lnSpc>
          <a:spcPct val="85000"/>
        </a:lnSpc>
        <a:spcBef>
          <a:spcPct val="0"/>
        </a:spcBef>
        <a:buNone/>
        <a:defRPr sz="4800" b="1"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37" imgW="270" imgH="270" progId="TCLayout.ActiveDocument.1">
                  <p:embed/>
                </p:oleObj>
              </mc:Choice>
              <mc:Fallback>
                <p:oleObj name="think-cell Slide" r:id="rId37" imgW="270" imgH="270" progId="TCLayout.ActiveDocument.1">
                  <p:embed/>
                  <p:pic>
                    <p:nvPicPr>
                      <p:cNvPr id="2" name="Object 1" hidden="1"/>
                      <p:cNvPicPr/>
                      <p:nvPr/>
                    </p:nvPicPr>
                    <p:blipFill>
                      <a:blip r:embed="rId38"/>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9"/>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1" i="0" baseline="0">
              <a:solidFill>
                <a:srgbClr val="000000"/>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9" name="Title Placeholder 2"/>
          <p:cNvSpPr>
            <a:spLocks noGrp="1" noChangeArrowheads="1"/>
          </p:cNvSpPr>
          <p:nvPr>
            <p:ph type="title"/>
          </p:nvPr>
        </p:nvSpPr>
        <p:spPr bwMode="gray">
          <a:xfrm>
            <a:off x="161990" y="290566"/>
            <a:ext cx="11725484" cy="3140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a:p>
        </p:txBody>
      </p:sp>
      <p:sp>
        <p:nvSpPr>
          <p:cNvPr id="10" name="1. On-page tracker" hidden="1"/>
          <p:cNvSpPr>
            <a:spLocks noChangeArrowheads="1"/>
          </p:cNvSpPr>
          <p:nvPr/>
        </p:nvSpPr>
        <p:spPr bwMode="gray">
          <a:xfrm>
            <a:off x="208635" y="77303"/>
            <a:ext cx="500490" cy="1256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en-US" sz="800" cap="all" baseline="0">
                <a:solidFill>
                  <a:schemeClr val="bg1"/>
                </a:solidFill>
                <a:latin typeface="+mn-lt"/>
                <a:ea typeface="+mn-ea"/>
              </a:rPr>
              <a:t>Tracker</a:t>
            </a:r>
          </a:p>
        </p:txBody>
      </p:sp>
      <p:sp>
        <p:nvSpPr>
          <p:cNvPr id="11" name="3. Unit of measure" hidden="1"/>
          <p:cNvSpPr txBox="1">
            <a:spLocks noChangeArrowheads="1"/>
          </p:cNvSpPr>
          <p:nvPr/>
        </p:nvSpPr>
        <p:spPr bwMode="gray">
          <a:xfrm>
            <a:off x="161990" y="566142"/>
            <a:ext cx="11725484"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a:solidFill>
                  <a:schemeClr val="accent6"/>
                </a:solidFill>
                <a:latin typeface="+mn-lt"/>
                <a:ea typeface="+mn-ea"/>
              </a:rPr>
              <a:t>Unit of measure</a:t>
            </a:r>
          </a:p>
        </p:txBody>
      </p:sp>
      <p:sp>
        <p:nvSpPr>
          <p:cNvPr id="13" name="4. Footnote" hidden="1"/>
          <p:cNvSpPr txBox="1">
            <a:spLocks noChangeArrowheads="1"/>
          </p:cNvSpPr>
          <p:nvPr/>
        </p:nvSpPr>
        <p:spPr bwMode="gray">
          <a:xfrm>
            <a:off x="161986" y="6434036"/>
            <a:ext cx="9821651" cy="1263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a:solidFill>
                  <a:schemeClr val="accent6"/>
                </a:solidFill>
                <a:latin typeface="+mn-lt"/>
                <a:ea typeface="+mn-ea"/>
              </a:rPr>
              <a:t>1 Footnote</a:t>
            </a:r>
          </a:p>
        </p:txBody>
      </p:sp>
      <p:sp>
        <p:nvSpPr>
          <p:cNvPr id="14" name="5. Source" hidden="1"/>
          <p:cNvSpPr>
            <a:spLocks noChangeArrowheads="1"/>
          </p:cNvSpPr>
          <p:nvPr/>
        </p:nvSpPr>
        <p:spPr bwMode="gray">
          <a:xfrm>
            <a:off x="161986" y="6639745"/>
            <a:ext cx="9821651" cy="1263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noAutofit/>
          </a:bodyPr>
          <a:lstStyle/>
          <a:p>
            <a:pPr marL="609535" indent="-609535" defTabSz="895255">
              <a:tabLst>
                <a:tab pos="630171" algn="l"/>
              </a:tabLst>
            </a:pPr>
            <a:r>
              <a:rPr lang="en-US" sz="800" baseline="0">
                <a:solidFill>
                  <a:schemeClr val="accent6"/>
                </a:solidFill>
                <a:latin typeface="+mn-lt"/>
                <a:ea typeface="+mn-ea"/>
              </a:rPr>
              <a:t>SOURCE: Source</a:t>
            </a:r>
          </a:p>
        </p:txBody>
      </p:sp>
      <p:sp>
        <p:nvSpPr>
          <p:cNvPr id="3" name="Text Placeholder 2"/>
          <p:cNvSpPr>
            <a:spLocks noGrp="1"/>
          </p:cNvSpPr>
          <p:nvPr>
            <p:ph type="body" idx="1"/>
          </p:nvPr>
        </p:nvSpPr>
        <p:spPr bwMode="gray">
          <a:xfrm>
            <a:off x="2729248" y="2606569"/>
            <a:ext cx="5853024" cy="1130501"/>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15" name="ACET" hidden="1"/>
          <p:cNvGrpSpPr>
            <a:grpSpLocks/>
          </p:cNvGrpSpPr>
          <p:nvPr/>
        </p:nvGrpSpPr>
        <p:grpSpPr bwMode="gray">
          <a:xfrm>
            <a:off x="2729245" y="1895613"/>
            <a:ext cx="5801188" cy="521557"/>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r>
                <a:rPr lang="en-US" sz="1600" b="1" baseline="0">
                  <a:solidFill>
                    <a:srgbClr val="000000"/>
                  </a:solidFill>
                  <a:latin typeface="+mn-lt"/>
                  <a:ea typeface="+mn-ea"/>
                </a:rPr>
                <a:t>Title</a:t>
              </a:r>
            </a:p>
            <a:p>
              <a:r>
                <a:rPr lang="en-US" sz="1600" baseline="0">
                  <a:solidFill>
                    <a:schemeClr val="accent6"/>
                  </a:solidFill>
                  <a:latin typeface="+mn-lt"/>
                  <a:ea typeface="+mn-ea"/>
                </a:rPr>
                <a:t>Unit of measure</a:t>
              </a:r>
            </a:p>
          </p:txBody>
        </p:sp>
      </p:grpSp>
      <p:grpSp>
        <p:nvGrpSpPr>
          <p:cNvPr id="17" name="Sticker" hidden="1">
            <a:extLst>
              <a:ext uri="{FF2B5EF4-FFF2-40B4-BE49-F238E27FC236}">
                <a16:creationId xmlns:a16="http://schemas.microsoft.com/office/drawing/2014/main" id="{2C790296-416B-4243-BEFE-22AF5A6C2F40}"/>
              </a:ext>
            </a:extLst>
          </p:cNvPr>
          <p:cNvGrpSpPr/>
          <p:nvPr/>
        </p:nvGrpSpPr>
        <p:grpSpPr bwMode="gray">
          <a:xfrm>
            <a:off x="11404519" y="291557"/>
            <a:ext cx="482957" cy="153874"/>
            <a:chOff x="8385789" y="285750"/>
            <a:chExt cx="354986" cy="150811"/>
          </a:xfrm>
        </p:grpSpPr>
        <p:sp>
          <p:nvSpPr>
            <p:cNvPr id="20" name="StickerRectangle">
              <a:extLst>
                <a:ext uri="{FF2B5EF4-FFF2-40B4-BE49-F238E27FC236}">
                  <a16:creationId xmlns:a16="http://schemas.microsoft.com/office/drawing/2014/main" id="{1E5AEE43-9CA1-4C1A-8F9C-707F39AD4261}"/>
                </a:ext>
              </a:extLst>
            </p:cNvPr>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800" baseline="0">
                  <a:solidFill>
                    <a:schemeClr val="accent6"/>
                  </a:solidFill>
                  <a:latin typeface="+mn-lt"/>
                  <a:ea typeface="+mn-ea"/>
                </a:rPr>
                <a:t>STICKER</a:t>
              </a:r>
            </a:p>
          </p:txBody>
        </p:sp>
        <p:cxnSp>
          <p:nvCxnSpPr>
            <p:cNvPr id="21" name="AutoShape 31">
              <a:extLst>
                <a:ext uri="{FF2B5EF4-FFF2-40B4-BE49-F238E27FC236}">
                  <a16:creationId xmlns:a16="http://schemas.microsoft.com/office/drawing/2014/main" id="{859BCCB4-F132-4E1A-BFA1-FA85C20CEC0A}"/>
                </a:ext>
              </a:extLst>
            </p:cNvPr>
            <p:cNvCxnSpPr>
              <a:cxnSpLocks noChangeShapeType="1"/>
              <a:stCxn id="20" idx="2"/>
              <a:endCxn id="20" idx="4"/>
            </p:cNvCxnSpPr>
            <p:nvPr/>
          </p:nvCxnSpPr>
          <p:spPr bwMode="gray">
            <a:xfrm>
              <a:off x="8394205" y="285750"/>
              <a:ext cx="0" cy="148374"/>
            </a:xfrm>
            <a:prstGeom prst="straightConnector1">
              <a:avLst/>
            </a:prstGeom>
            <a:noFill/>
            <a:ln w="9525">
              <a:solidFill>
                <a:schemeClr val="accent6"/>
              </a:solidFill>
              <a:round/>
              <a:headEnd/>
              <a:tailEnd/>
            </a:ln>
            <a:extLst>
              <a:ext uri="{909E8E84-426E-40dd-AFC4-6F175D3DCCD1}">
                <a14:hiddenFill xmlns:a14="http://schemas.microsoft.com/office/drawing/2010/main" xmlns="">
                  <a:noFill/>
                </a14:hiddenFill>
              </a:ext>
            </a:extLst>
          </p:spPr>
        </p:cxnSp>
        <p:cxnSp>
          <p:nvCxnSpPr>
            <p:cNvPr id="22" name="AutoShape 32">
              <a:extLst>
                <a:ext uri="{FF2B5EF4-FFF2-40B4-BE49-F238E27FC236}">
                  <a16:creationId xmlns:a16="http://schemas.microsoft.com/office/drawing/2014/main" id="{65F249C0-F203-445A-80CB-8D05DC3432CB}"/>
                </a:ext>
              </a:extLst>
            </p:cNvPr>
            <p:cNvCxnSpPr>
              <a:cxnSpLocks noChangeShapeType="1"/>
              <a:stCxn id="20" idx="4"/>
              <a:endCxn id="20" idx="6"/>
            </p:cNvCxnSpPr>
            <p:nvPr/>
          </p:nvCxnSpPr>
          <p:spPr bwMode="gray">
            <a:xfrm>
              <a:off x="8394205" y="434124"/>
              <a:ext cx="346570" cy="0"/>
            </a:xfrm>
            <a:prstGeom prst="straightConnector1">
              <a:avLst/>
            </a:prstGeom>
            <a:noFill/>
            <a:ln w="25400">
              <a:solidFill>
                <a:schemeClr val="accent6"/>
              </a:solidFill>
              <a:round/>
              <a:headEnd/>
              <a:tailEnd/>
            </a:ln>
            <a:extLst>
              <a:ext uri="{909E8E84-426E-40dd-AFC4-6F175D3DCCD1}">
                <a14:hiddenFill xmlns:a14="http://schemas.microsoft.com/office/drawing/2010/main" xmlns="">
                  <a:noFill/>
                </a14:hiddenFill>
              </a:ext>
            </a:extLst>
          </p:spPr>
        </p:cxnSp>
      </p:grpSp>
      <p:grpSp>
        <p:nvGrpSpPr>
          <p:cNvPr id="23" name="LegendLines" hidden="1">
            <a:extLst>
              <a:ext uri="{FF2B5EF4-FFF2-40B4-BE49-F238E27FC236}">
                <a16:creationId xmlns:a16="http://schemas.microsoft.com/office/drawing/2014/main" id="{C09CF1AE-18B5-4A05-968F-8E22AD4154C8}"/>
              </a:ext>
            </a:extLst>
          </p:cNvPr>
          <p:cNvGrpSpPr/>
          <p:nvPr/>
        </p:nvGrpSpPr>
        <p:grpSpPr>
          <a:xfrm>
            <a:off x="10263058" y="277887"/>
            <a:ext cx="1373003" cy="777012"/>
            <a:chOff x="7607284" y="279400"/>
            <a:chExt cx="1009193" cy="761545"/>
          </a:xfrm>
        </p:grpSpPr>
        <p:sp>
          <p:nvSpPr>
            <p:cNvPr id="25" name="LineLegend1">
              <a:extLst>
                <a:ext uri="{FF2B5EF4-FFF2-40B4-BE49-F238E27FC236}">
                  <a16:creationId xmlns:a16="http://schemas.microsoft.com/office/drawing/2014/main" id="{6E4E729C-CF27-469E-BC29-42E6DDE52CD5}"/>
                </a:ext>
              </a:extLst>
            </p:cNvPr>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6" name="LineLegend2">
              <a:extLst>
                <a:ext uri="{FF2B5EF4-FFF2-40B4-BE49-F238E27FC236}">
                  <a16:creationId xmlns:a16="http://schemas.microsoft.com/office/drawing/2014/main" id="{605547A6-1672-4A2F-A185-7CED9DC77A64}"/>
                </a:ext>
              </a:extLst>
            </p:cNvPr>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7" name="LineLegend3">
              <a:extLst>
                <a:ext uri="{FF2B5EF4-FFF2-40B4-BE49-F238E27FC236}">
                  <a16:creationId xmlns:a16="http://schemas.microsoft.com/office/drawing/2014/main" id="{CB74C4EA-2B84-4C6B-BDFD-3B91B1F4A423}"/>
                </a:ext>
              </a:extLst>
            </p:cNvPr>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8" name="Legend1">
              <a:extLst>
                <a:ext uri="{FF2B5EF4-FFF2-40B4-BE49-F238E27FC236}">
                  <a16:creationId xmlns:a16="http://schemas.microsoft.com/office/drawing/2014/main" id="{4830EF76-F64C-47AA-8C70-B48DB7810355}"/>
                </a:ext>
              </a:extLst>
            </p:cNvPr>
            <p:cNvSpPr>
              <a:spLocks noChangeArrowheads="1"/>
            </p:cNvSpPr>
            <p:nvPr>
              <p:custDataLst>
                <p:tags r:id="rId34"/>
              </p:custDataLst>
            </p:nvPr>
          </p:nvSpPr>
          <p:spPr bwMode="gray">
            <a:xfrm>
              <a:off x="8169259" y="279400"/>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29" name="Legend2">
              <a:extLst>
                <a:ext uri="{FF2B5EF4-FFF2-40B4-BE49-F238E27FC236}">
                  <a16:creationId xmlns:a16="http://schemas.microsoft.com/office/drawing/2014/main" id="{1CC412BD-A418-4880-A312-67FEF6330524}"/>
                </a:ext>
              </a:extLst>
            </p:cNvPr>
            <p:cNvSpPr>
              <a:spLocks noChangeArrowheads="1"/>
            </p:cNvSpPr>
            <p:nvPr>
              <p:custDataLst>
                <p:tags r:id="rId35"/>
              </p:custDataLst>
            </p:nvPr>
          </p:nvSpPr>
          <p:spPr bwMode="gray">
            <a:xfrm>
              <a:off x="8169259" y="546100"/>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0" name="Legend3">
              <a:extLst>
                <a:ext uri="{FF2B5EF4-FFF2-40B4-BE49-F238E27FC236}">
                  <a16:creationId xmlns:a16="http://schemas.microsoft.com/office/drawing/2014/main" id="{2C424360-7EE9-43F1-B3CE-C9E680649FA6}"/>
                </a:ext>
              </a:extLst>
            </p:cNvPr>
            <p:cNvSpPr>
              <a:spLocks noChangeArrowheads="1"/>
            </p:cNvSpPr>
            <p:nvPr>
              <p:custDataLst>
                <p:tags r:id="rId36"/>
              </p:custDataLst>
            </p:nvPr>
          </p:nvSpPr>
          <p:spPr bwMode="gray">
            <a:xfrm>
              <a:off x="8169259" y="825501"/>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31" name="LegendBoxes" hidden="1">
            <a:extLst>
              <a:ext uri="{FF2B5EF4-FFF2-40B4-BE49-F238E27FC236}">
                <a16:creationId xmlns:a16="http://schemas.microsoft.com/office/drawing/2014/main" id="{3152D7CE-B5AF-48C9-8163-3B00CA962908}"/>
              </a:ext>
            </a:extLst>
          </p:cNvPr>
          <p:cNvGrpSpPr/>
          <p:nvPr/>
        </p:nvGrpSpPr>
        <p:grpSpPr>
          <a:xfrm>
            <a:off x="10682062" y="277992"/>
            <a:ext cx="954005" cy="1049129"/>
            <a:chOff x="5894005" y="919828"/>
            <a:chExt cx="701218" cy="1028245"/>
          </a:xfrm>
        </p:grpSpPr>
        <p:sp>
          <p:nvSpPr>
            <p:cNvPr id="32" name="RectangleLegend1">
              <a:extLst>
                <a:ext uri="{FF2B5EF4-FFF2-40B4-BE49-F238E27FC236}">
                  <a16:creationId xmlns:a16="http://schemas.microsoft.com/office/drawing/2014/main" id="{D6B30678-9151-43BF-9B4C-4DB0625A93C9}"/>
                </a:ext>
              </a:extLst>
            </p:cNvPr>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3" name="RectangleLegend2">
              <a:extLst>
                <a:ext uri="{FF2B5EF4-FFF2-40B4-BE49-F238E27FC236}">
                  <a16:creationId xmlns:a16="http://schemas.microsoft.com/office/drawing/2014/main" id="{7DEFBDC2-6FBE-46D6-BB92-FF7131E772FF}"/>
                </a:ext>
              </a:extLst>
            </p:cNvPr>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4" name="RectangleLegend3">
              <a:extLst>
                <a:ext uri="{FF2B5EF4-FFF2-40B4-BE49-F238E27FC236}">
                  <a16:creationId xmlns:a16="http://schemas.microsoft.com/office/drawing/2014/main" id="{99CEF0ED-629B-4B1B-AA22-FF7E7102512F}"/>
                </a:ext>
              </a:extLst>
            </p:cNvPr>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5" name="RectangleLegend4">
              <a:extLst>
                <a:ext uri="{FF2B5EF4-FFF2-40B4-BE49-F238E27FC236}">
                  <a16:creationId xmlns:a16="http://schemas.microsoft.com/office/drawing/2014/main" id="{9FC9AE04-ECC5-49AA-83D9-A50F8C3B85D9}"/>
                </a:ext>
              </a:extLst>
            </p:cNvPr>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6" name="Legend1">
              <a:extLst>
                <a:ext uri="{FF2B5EF4-FFF2-40B4-BE49-F238E27FC236}">
                  <a16:creationId xmlns:a16="http://schemas.microsoft.com/office/drawing/2014/main" id="{20DB3DB5-FE61-4830-A95E-895FE612923E}"/>
                </a:ext>
              </a:extLst>
            </p:cNvPr>
            <p:cNvSpPr>
              <a:spLocks noChangeArrowheads="1"/>
            </p:cNvSpPr>
            <p:nvPr>
              <p:custDataLst>
                <p:tags r:id="rId30"/>
              </p:custDataLst>
            </p:nvPr>
          </p:nvSpPr>
          <p:spPr bwMode="gray">
            <a:xfrm>
              <a:off x="6148005" y="919828"/>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7" name="Legend2">
              <a:extLst>
                <a:ext uri="{FF2B5EF4-FFF2-40B4-BE49-F238E27FC236}">
                  <a16:creationId xmlns:a16="http://schemas.microsoft.com/office/drawing/2014/main" id="{6BA38D5C-4662-40A1-80D4-59218788CCA4}"/>
                </a:ext>
              </a:extLst>
            </p:cNvPr>
            <p:cNvSpPr>
              <a:spLocks noChangeArrowheads="1"/>
            </p:cNvSpPr>
            <p:nvPr>
              <p:custDataLst>
                <p:tags r:id="rId31"/>
              </p:custDataLst>
            </p:nvPr>
          </p:nvSpPr>
          <p:spPr bwMode="gray">
            <a:xfrm>
              <a:off x="6148005" y="1189703"/>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8" name="Legend3">
              <a:extLst>
                <a:ext uri="{FF2B5EF4-FFF2-40B4-BE49-F238E27FC236}">
                  <a16:creationId xmlns:a16="http://schemas.microsoft.com/office/drawing/2014/main" id="{F6E468B5-FD40-42DE-8D1C-9DF0E4E2D785}"/>
                </a:ext>
              </a:extLst>
            </p:cNvPr>
            <p:cNvSpPr>
              <a:spLocks noChangeArrowheads="1"/>
            </p:cNvSpPr>
            <p:nvPr>
              <p:custDataLst>
                <p:tags r:id="rId32"/>
              </p:custDataLst>
            </p:nvPr>
          </p:nvSpPr>
          <p:spPr bwMode="gray">
            <a:xfrm>
              <a:off x="6148005" y="1461166"/>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9" name="Legend4">
              <a:extLst>
                <a:ext uri="{FF2B5EF4-FFF2-40B4-BE49-F238E27FC236}">
                  <a16:creationId xmlns:a16="http://schemas.microsoft.com/office/drawing/2014/main" id="{30C1A9EE-7EA3-431C-B21C-77604769D975}"/>
                </a:ext>
              </a:extLst>
            </p:cNvPr>
            <p:cNvSpPr>
              <a:spLocks noChangeArrowheads="1"/>
            </p:cNvSpPr>
            <p:nvPr>
              <p:custDataLst>
                <p:tags r:id="rId33"/>
              </p:custDataLst>
            </p:nvPr>
          </p:nvSpPr>
          <p:spPr bwMode="gray">
            <a:xfrm>
              <a:off x="6148005" y="1732629"/>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40" name="LegendMoons" hidden="1">
            <a:extLst>
              <a:ext uri="{FF2B5EF4-FFF2-40B4-BE49-F238E27FC236}">
                <a16:creationId xmlns:a16="http://schemas.microsoft.com/office/drawing/2014/main" id="{7A8C3989-5146-471B-A276-90994769CB0C}"/>
              </a:ext>
            </a:extLst>
          </p:cNvPr>
          <p:cNvGrpSpPr/>
          <p:nvPr/>
        </p:nvGrpSpPr>
        <p:grpSpPr>
          <a:xfrm>
            <a:off x="10591346" y="277477"/>
            <a:ext cx="1044716" cy="1343754"/>
            <a:chOff x="5894005" y="2695123"/>
            <a:chExt cx="767893" cy="1317003"/>
          </a:xfrm>
        </p:grpSpPr>
        <p:grpSp>
          <p:nvGrpSpPr>
            <p:cNvPr id="41" name="MoonLegend1">
              <a:extLst>
                <a:ext uri="{FF2B5EF4-FFF2-40B4-BE49-F238E27FC236}">
                  <a16:creationId xmlns:a16="http://schemas.microsoft.com/office/drawing/2014/main" id="{DC55A7B2-C455-418F-BB9F-EE04A7C3CF1C}"/>
                </a:ext>
              </a:extLst>
            </p:cNvPr>
            <p:cNvGrpSpPr>
              <a:grpSpLocks noChangeAspect="1"/>
            </p:cNvGrpSpPr>
            <p:nvPr>
              <p:custDataLst>
                <p:tags r:id="rId10"/>
              </p:custDataLst>
            </p:nvPr>
          </p:nvGrpSpPr>
          <p:grpSpPr bwMode="gray">
            <a:xfrm>
              <a:off x="5894005" y="2695123"/>
              <a:ext cx="209550" cy="218282"/>
              <a:chOff x="4533" y="183"/>
              <a:chExt cx="144" cy="150"/>
            </a:xfrm>
          </p:grpSpPr>
          <p:sp>
            <p:nvSpPr>
              <p:cNvPr id="59" name="Oval 58">
                <a:extLst>
                  <a:ext uri="{FF2B5EF4-FFF2-40B4-BE49-F238E27FC236}">
                    <a16:creationId xmlns:a16="http://schemas.microsoft.com/office/drawing/2014/main" id="{B4C5AE24-2FE5-49E5-AB02-3B1349FBA028}"/>
                  </a:ext>
                </a:extLst>
              </p:cNvPr>
              <p:cNvSpPr>
                <a:spLocks noChangeAspect="1" noChangeArrowheads="1"/>
              </p:cNvSpPr>
              <p:nvPr>
                <p:custDataLst>
                  <p:tags r:id="rId28"/>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60" name="Arc 59">
                <a:extLst>
                  <a:ext uri="{FF2B5EF4-FFF2-40B4-BE49-F238E27FC236}">
                    <a16:creationId xmlns:a16="http://schemas.microsoft.com/office/drawing/2014/main" id="{C78E24F2-3D4E-4A63-910E-68BA8A37726B}"/>
                  </a:ext>
                </a:extLst>
              </p:cNvPr>
              <p:cNvSpPr>
                <a:spLocks noChangeAspect="1"/>
              </p:cNvSpPr>
              <p:nvPr>
                <p:custDataLst>
                  <p:tags r:id="rId2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2" name="MoonLegend2">
              <a:extLst>
                <a:ext uri="{FF2B5EF4-FFF2-40B4-BE49-F238E27FC236}">
                  <a16:creationId xmlns:a16="http://schemas.microsoft.com/office/drawing/2014/main" id="{4F057237-2383-47D5-920A-40B2E61A0585}"/>
                </a:ext>
              </a:extLst>
            </p:cNvPr>
            <p:cNvGrpSpPr>
              <a:grpSpLocks noChangeAspect="1"/>
            </p:cNvGrpSpPr>
            <p:nvPr>
              <p:custDataLst>
                <p:tags r:id="rId11"/>
              </p:custDataLst>
            </p:nvPr>
          </p:nvGrpSpPr>
          <p:grpSpPr bwMode="gray">
            <a:xfrm>
              <a:off x="5894005" y="2977103"/>
              <a:ext cx="209550" cy="209551"/>
              <a:chOff x="1694" y="2051"/>
              <a:chExt cx="160" cy="160"/>
            </a:xfrm>
          </p:grpSpPr>
          <p:sp>
            <p:nvSpPr>
              <p:cNvPr id="57" name="Oval 41">
                <a:extLst>
                  <a:ext uri="{FF2B5EF4-FFF2-40B4-BE49-F238E27FC236}">
                    <a16:creationId xmlns:a16="http://schemas.microsoft.com/office/drawing/2014/main" id="{99F17035-2F9A-40DE-BCE8-6B198BF68989}"/>
                  </a:ext>
                </a:extLst>
              </p:cNvPr>
              <p:cNvSpPr>
                <a:spLocks noChangeAspect="1" noChangeArrowheads="1"/>
              </p:cNvSpPr>
              <p:nvPr>
                <p:custDataLst>
                  <p:tags r:id="rId26"/>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8" name="Arc 42">
                <a:extLst>
                  <a:ext uri="{FF2B5EF4-FFF2-40B4-BE49-F238E27FC236}">
                    <a16:creationId xmlns:a16="http://schemas.microsoft.com/office/drawing/2014/main" id="{3DA859E5-5A95-42F9-9AA2-9BEC934DE355}"/>
                  </a:ext>
                </a:extLst>
              </p:cNvPr>
              <p:cNvSpPr>
                <a:spLocks noChangeAspect="1"/>
              </p:cNvSpPr>
              <p:nvPr>
                <p:custDataLst>
                  <p:tags r:id="rId27"/>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3" name="MoonLegend4">
              <a:extLst>
                <a:ext uri="{FF2B5EF4-FFF2-40B4-BE49-F238E27FC236}">
                  <a16:creationId xmlns:a16="http://schemas.microsoft.com/office/drawing/2014/main" id="{8E59139F-647D-4BF1-8AC9-9403D5279252}"/>
                </a:ext>
              </a:extLst>
            </p:cNvPr>
            <p:cNvGrpSpPr>
              <a:grpSpLocks noChangeAspect="1"/>
            </p:cNvGrpSpPr>
            <p:nvPr>
              <p:custDataLst>
                <p:tags r:id="rId12"/>
              </p:custDataLst>
            </p:nvPr>
          </p:nvGrpSpPr>
          <p:grpSpPr bwMode="gray">
            <a:xfrm>
              <a:off x="5894005" y="3524395"/>
              <a:ext cx="209550" cy="209551"/>
              <a:chOff x="4495" y="1204"/>
              <a:chExt cx="160" cy="160"/>
            </a:xfrm>
          </p:grpSpPr>
          <p:sp>
            <p:nvSpPr>
              <p:cNvPr id="55" name="Oval 47">
                <a:extLst>
                  <a:ext uri="{FF2B5EF4-FFF2-40B4-BE49-F238E27FC236}">
                    <a16:creationId xmlns:a16="http://schemas.microsoft.com/office/drawing/2014/main" id="{0AF410E8-47A6-4D5E-893D-F5B90C7DD5D4}"/>
                  </a:ext>
                </a:extLst>
              </p:cNvPr>
              <p:cNvSpPr>
                <a:spLocks noChangeAspect="1" noChangeArrowheads="1"/>
              </p:cNvSpPr>
              <p:nvPr>
                <p:custDataLst>
                  <p:tags r:id="rId24"/>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6" name="Arc 48">
                <a:extLst>
                  <a:ext uri="{FF2B5EF4-FFF2-40B4-BE49-F238E27FC236}">
                    <a16:creationId xmlns:a16="http://schemas.microsoft.com/office/drawing/2014/main" id="{D1CD27D6-1E7B-4B79-828D-9E47FB2873C4}"/>
                  </a:ext>
                </a:extLst>
              </p:cNvPr>
              <p:cNvSpPr>
                <a:spLocks noChangeAspect="1"/>
              </p:cNvSpPr>
              <p:nvPr>
                <p:custDataLst>
                  <p:tags r:id="rId25"/>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4" name="MoonLegend5">
              <a:extLst>
                <a:ext uri="{FF2B5EF4-FFF2-40B4-BE49-F238E27FC236}">
                  <a16:creationId xmlns:a16="http://schemas.microsoft.com/office/drawing/2014/main" id="{32CE8755-B82F-4765-B7D4-05F5E2BAF1D3}"/>
                </a:ext>
              </a:extLst>
            </p:cNvPr>
            <p:cNvGrpSpPr>
              <a:grpSpLocks noChangeAspect="1"/>
            </p:cNvGrpSpPr>
            <p:nvPr>
              <p:custDataLst>
                <p:tags r:id="rId13"/>
              </p:custDataLst>
            </p:nvPr>
          </p:nvGrpSpPr>
          <p:grpSpPr bwMode="gray">
            <a:xfrm>
              <a:off x="5894005" y="3799629"/>
              <a:ext cx="209550" cy="209551"/>
              <a:chOff x="4495" y="1447"/>
              <a:chExt cx="160" cy="160"/>
            </a:xfrm>
          </p:grpSpPr>
          <p:sp>
            <p:nvSpPr>
              <p:cNvPr id="53" name="Oval 50">
                <a:extLst>
                  <a:ext uri="{FF2B5EF4-FFF2-40B4-BE49-F238E27FC236}">
                    <a16:creationId xmlns:a16="http://schemas.microsoft.com/office/drawing/2014/main" id="{64E30B6B-3348-4938-9CFE-31C6F826919F}"/>
                  </a:ext>
                </a:extLst>
              </p:cNvPr>
              <p:cNvSpPr>
                <a:spLocks noChangeAspect="1" noChangeArrowheads="1"/>
              </p:cNvSpPr>
              <p:nvPr>
                <p:custDataLst>
                  <p:tags r:id="rId22"/>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4" name="Oval 51">
                <a:extLst>
                  <a:ext uri="{FF2B5EF4-FFF2-40B4-BE49-F238E27FC236}">
                    <a16:creationId xmlns:a16="http://schemas.microsoft.com/office/drawing/2014/main" id="{1D5CBCB1-AA55-4416-8252-8CAFE4EAD045}"/>
                  </a:ext>
                </a:extLst>
              </p:cNvPr>
              <p:cNvSpPr>
                <a:spLocks noChangeAspect="1" noChangeArrowheads="1"/>
              </p:cNvSpPr>
              <p:nvPr>
                <p:custDataLst>
                  <p:tags r:id="rId23"/>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5" name="MoonLegend3">
              <a:extLst>
                <a:ext uri="{FF2B5EF4-FFF2-40B4-BE49-F238E27FC236}">
                  <a16:creationId xmlns:a16="http://schemas.microsoft.com/office/drawing/2014/main" id="{D35DAD38-AC87-4B86-BC5D-06B5CDD7FD7E}"/>
                </a:ext>
              </a:extLst>
            </p:cNvPr>
            <p:cNvGrpSpPr>
              <a:grpSpLocks noChangeAspect="1"/>
            </p:cNvGrpSpPr>
            <p:nvPr>
              <p:custDataLst>
                <p:tags r:id="rId14"/>
              </p:custDataLst>
            </p:nvPr>
          </p:nvGrpSpPr>
          <p:grpSpPr bwMode="gray">
            <a:xfrm>
              <a:off x="5894005" y="3251543"/>
              <a:ext cx="209550" cy="209551"/>
              <a:chOff x="4495" y="1205"/>
              <a:chExt cx="160" cy="160"/>
            </a:xfrm>
          </p:grpSpPr>
          <p:sp>
            <p:nvSpPr>
              <p:cNvPr id="51" name="Oval 47">
                <a:extLst>
                  <a:ext uri="{FF2B5EF4-FFF2-40B4-BE49-F238E27FC236}">
                    <a16:creationId xmlns:a16="http://schemas.microsoft.com/office/drawing/2014/main" id="{471F5580-2914-4B84-9ECF-147E164CD171}"/>
                  </a:ext>
                </a:extLst>
              </p:cNvPr>
              <p:cNvSpPr>
                <a:spLocks noChangeAspect="1" noChangeArrowheads="1"/>
              </p:cNvSpPr>
              <p:nvPr>
                <p:custDataLst>
                  <p:tags r:id="rId20"/>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2" name="Arc 48">
                <a:extLst>
                  <a:ext uri="{FF2B5EF4-FFF2-40B4-BE49-F238E27FC236}">
                    <a16:creationId xmlns:a16="http://schemas.microsoft.com/office/drawing/2014/main" id="{943C9AA2-2D15-4342-B4C5-20E2CC6B306D}"/>
                  </a:ext>
                </a:extLst>
              </p:cNvPr>
              <p:cNvSpPr>
                <a:spLocks noChangeAspect="1"/>
              </p:cNvSpPr>
              <p:nvPr>
                <p:custDataLst>
                  <p:tags r:id="rId21"/>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sp>
          <p:nvSpPr>
            <p:cNvPr id="46" name="Legend1">
              <a:extLst>
                <a:ext uri="{FF2B5EF4-FFF2-40B4-BE49-F238E27FC236}">
                  <a16:creationId xmlns:a16="http://schemas.microsoft.com/office/drawing/2014/main" id="{6EA54B09-41B6-48BB-A955-90193D492328}"/>
                </a:ext>
              </a:extLst>
            </p:cNvPr>
            <p:cNvSpPr>
              <a:spLocks noChangeArrowheads="1"/>
            </p:cNvSpPr>
            <p:nvPr>
              <p:custDataLst>
                <p:tags r:id="rId15"/>
              </p:custDataLst>
            </p:nvPr>
          </p:nvSpPr>
          <p:spPr bwMode="gray">
            <a:xfrm>
              <a:off x="6214680" y="2696542"/>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7" name="Legend2">
              <a:extLst>
                <a:ext uri="{FF2B5EF4-FFF2-40B4-BE49-F238E27FC236}">
                  <a16:creationId xmlns:a16="http://schemas.microsoft.com/office/drawing/2014/main" id="{0AC1EE43-A017-4700-AF61-830731F30FE4}"/>
                </a:ext>
              </a:extLst>
            </p:cNvPr>
            <p:cNvSpPr>
              <a:spLocks noChangeArrowheads="1"/>
            </p:cNvSpPr>
            <p:nvPr>
              <p:custDataLst>
                <p:tags r:id="rId16"/>
              </p:custDataLst>
            </p:nvPr>
          </p:nvSpPr>
          <p:spPr bwMode="gray">
            <a:xfrm>
              <a:off x="6214680" y="2974156"/>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8" name="Legend3">
              <a:extLst>
                <a:ext uri="{FF2B5EF4-FFF2-40B4-BE49-F238E27FC236}">
                  <a16:creationId xmlns:a16="http://schemas.microsoft.com/office/drawing/2014/main" id="{2A6D11A2-9703-426A-86CA-4962B3EE0CCC}"/>
                </a:ext>
              </a:extLst>
            </p:cNvPr>
            <p:cNvSpPr>
              <a:spLocks noChangeArrowheads="1"/>
            </p:cNvSpPr>
            <p:nvPr>
              <p:custDataLst>
                <p:tags r:id="rId17"/>
              </p:custDataLst>
            </p:nvPr>
          </p:nvSpPr>
          <p:spPr bwMode="gray">
            <a:xfrm>
              <a:off x="6214680" y="3248596"/>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9" name="Legend4">
              <a:extLst>
                <a:ext uri="{FF2B5EF4-FFF2-40B4-BE49-F238E27FC236}">
                  <a16:creationId xmlns:a16="http://schemas.microsoft.com/office/drawing/2014/main" id="{3EA4E7B0-EFCC-4F9F-913E-143E08E90800}"/>
                </a:ext>
              </a:extLst>
            </p:cNvPr>
            <p:cNvSpPr>
              <a:spLocks noChangeArrowheads="1"/>
            </p:cNvSpPr>
            <p:nvPr>
              <p:custDataLst>
                <p:tags r:id="rId18"/>
              </p:custDataLst>
            </p:nvPr>
          </p:nvSpPr>
          <p:spPr bwMode="gray">
            <a:xfrm>
              <a:off x="6214680" y="3521448"/>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50" name="Legend5">
              <a:extLst>
                <a:ext uri="{FF2B5EF4-FFF2-40B4-BE49-F238E27FC236}">
                  <a16:creationId xmlns:a16="http://schemas.microsoft.com/office/drawing/2014/main" id="{20FC0E8B-0D7F-4303-9FE5-44FA02D35FD0}"/>
                </a:ext>
              </a:extLst>
            </p:cNvPr>
            <p:cNvSpPr>
              <a:spLocks noChangeArrowheads="1"/>
            </p:cNvSpPr>
            <p:nvPr>
              <p:custDataLst>
                <p:tags r:id="rId19"/>
              </p:custDataLst>
            </p:nvPr>
          </p:nvSpPr>
          <p:spPr bwMode="gray">
            <a:xfrm>
              <a:off x="6214680" y="3796682"/>
              <a:ext cx="447218"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63" name="sticker" hidden="1">
            <a:extLst>
              <a:ext uri="{FF2B5EF4-FFF2-40B4-BE49-F238E27FC236}">
                <a16:creationId xmlns:a16="http://schemas.microsoft.com/office/drawing/2014/main" id="{025597A3-7585-4D09-8EDC-160D256F7168}"/>
              </a:ext>
            </a:extLst>
          </p:cNvPr>
          <p:cNvGrpSpPr/>
          <p:nvPr/>
        </p:nvGrpSpPr>
        <p:grpSpPr>
          <a:xfrm>
            <a:off x="8889373" y="2192"/>
            <a:ext cx="3011573" cy="153874"/>
            <a:chOff x="6478920" y="285750"/>
            <a:chExt cx="2258680" cy="153873"/>
          </a:xfrm>
        </p:grpSpPr>
        <p:sp>
          <p:nvSpPr>
            <p:cNvPr id="64" name="StickerRectangle">
              <a:extLst>
                <a:ext uri="{FF2B5EF4-FFF2-40B4-BE49-F238E27FC236}">
                  <a16:creationId xmlns:a16="http://schemas.microsoft.com/office/drawing/2014/main" id="{9DE3FA71-0B83-495C-9250-C7F0CEDD22A5}"/>
                </a:ext>
              </a:extLst>
            </p:cNvPr>
            <p:cNvSpPr>
              <a:spLocks noChangeArrowheads="1"/>
            </p:cNvSpPr>
            <p:nvPr/>
          </p:nvSpPr>
          <p:spPr bwMode="gray">
            <a:xfrm>
              <a:off x="6478920" y="285750"/>
              <a:ext cx="2258680" cy="153873"/>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marL="0" marR="0" lvl="0" indent="0" algn="r" defTabSz="895255" eaLnBrk="1" fontAlgn="auto" latinLnBrk="0" hangingPunct="1">
                <a:lnSpc>
                  <a:spcPct val="100000"/>
                </a:lnSpc>
                <a:spcBef>
                  <a:spcPts val="0"/>
                </a:spcBef>
                <a:spcAft>
                  <a:spcPts val="0"/>
                </a:spcAft>
                <a:buClr>
                  <a:srgbClr val="002960"/>
                </a:buClr>
                <a:buSzTx/>
                <a:buFontTx/>
                <a:buNone/>
                <a:tabLst/>
                <a:defRPr/>
              </a:pPr>
              <a:r>
                <a:rPr kumimoji="0" lang="en-US" sz="800" b="0" i="0" u="none" strike="noStrike" kern="0" cap="none" spc="0" normalizeH="0" baseline="0" noProof="0">
                  <a:ln>
                    <a:noFill/>
                  </a:ln>
                  <a:solidFill>
                    <a:srgbClr val="FF0000"/>
                  </a:solidFill>
                  <a:effectLst/>
                  <a:uLnTx/>
                  <a:uFillTx/>
                  <a:latin typeface="Arial"/>
                </a:rPr>
                <a:t>PRELIMINARY DRAFT </a:t>
              </a:r>
              <a:r>
                <a:rPr kumimoji="0" lang="en-US" sz="800" b="0" i="0" u="none" strike="noStrike" kern="0" cap="none" spc="0" normalizeH="0" baseline="0" noProof="0">
                  <a:ln>
                    <a:noFill/>
                  </a:ln>
                  <a:solidFill>
                    <a:srgbClr val="808080"/>
                  </a:solidFill>
                  <a:effectLst/>
                  <a:uLnTx/>
                  <a:uFillTx/>
                  <a:latin typeface="Arial"/>
                </a:rPr>
                <a:t>- PROPRIETARY AND CONFIDENTIAL</a:t>
              </a:r>
            </a:p>
          </p:txBody>
        </p:sp>
        <p:cxnSp>
          <p:nvCxnSpPr>
            <p:cNvPr id="65" name="AutoShape 31">
              <a:extLst>
                <a:ext uri="{FF2B5EF4-FFF2-40B4-BE49-F238E27FC236}">
                  <a16:creationId xmlns:a16="http://schemas.microsoft.com/office/drawing/2014/main" id="{F7DA9444-9651-4951-8191-645A566A14FD}"/>
                </a:ext>
              </a:extLst>
            </p:cNvPr>
            <p:cNvCxnSpPr>
              <a:cxnSpLocks noChangeShapeType="1"/>
              <a:stCxn id="64" idx="2"/>
              <a:endCxn id="64" idx="4"/>
            </p:cNvCxnSpPr>
            <p:nvPr/>
          </p:nvCxnSpPr>
          <p:spPr bwMode="gray">
            <a:xfrm>
              <a:off x="6536575" y="285750"/>
              <a:ext cx="0" cy="151387"/>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66" name="AutoShape 32">
              <a:extLst>
                <a:ext uri="{FF2B5EF4-FFF2-40B4-BE49-F238E27FC236}">
                  <a16:creationId xmlns:a16="http://schemas.microsoft.com/office/drawing/2014/main" id="{752022F4-854D-460A-BF46-8564800FD14B}"/>
                </a:ext>
              </a:extLst>
            </p:cNvPr>
            <p:cNvCxnSpPr>
              <a:cxnSpLocks noChangeShapeType="1"/>
              <a:stCxn id="64" idx="4"/>
              <a:endCxn id="64" idx="6"/>
            </p:cNvCxnSpPr>
            <p:nvPr/>
          </p:nvCxnSpPr>
          <p:spPr bwMode="gray">
            <a:xfrm>
              <a:off x="6536575" y="437137"/>
              <a:ext cx="220102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sp>
        <p:nvSpPr>
          <p:cNvPr id="62" name="Slide Number">
            <a:extLst>
              <a:ext uri="{FF2B5EF4-FFF2-40B4-BE49-F238E27FC236}">
                <a16:creationId xmlns:a16="http://schemas.microsoft.com/office/drawing/2014/main" id="{5920B626-7C41-418D-ABDE-078F314165A9}"/>
              </a:ext>
            </a:extLst>
          </p:cNvPr>
          <p:cNvSpPr txBox="1">
            <a:spLocks/>
          </p:cNvSpPr>
          <p:nvPr/>
        </p:nvSpPr>
        <p:spPr bwMode="auto">
          <a:xfrm>
            <a:off x="11759894" y="6640468"/>
            <a:ext cx="127577"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800" baseline="0" smtClean="0">
                <a:solidFill>
                  <a:srgbClr val="808080"/>
                </a:solidFill>
                <a:latin typeface="+mn-lt"/>
              </a:rPr>
              <a:pPr algn="r"/>
              <a:t>‹#›</a:t>
            </a:fld>
            <a:endParaRPr lang="en-US" sz="800" baseline="0">
              <a:solidFill>
                <a:srgbClr val="808080"/>
              </a:solidFill>
              <a:latin typeface="+mn-lt"/>
            </a:endParaRPr>
          </a:p>
        </p:txBody>
      </p:sp>
    </p:spTree>
    <p:extLst>
      <p:ext uri="{BB962C8B-B14F-4D97-AF65-F5344CB8AC3E}">
        <p14:creationId xmlns:p14="http://schemas.microsoft.com/office/powerpoint/2010/main" val="2008016954"/>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Lst>
  <p:hf hdr="0" ftr="0" dt="0"/>
  <p:txStyles>
    <p:titleStyle>
      <a:lvl1pPr algn="l" defTabSz="895255" rtl="0" eaLnBrk="1" fontAlgn="base" hangingPunct="1">
        <a:spcBef>
          <a:spcPct val="0"/>
        </a:spcBef>
        <a:spcAft>
          <a:spcPct val="0"/>
        </a:spcAft>
        <a:tabLst>
          <a:tab pos="269847" algn="l"/>
        </a:tabLst>
        <a:defRPr sz="2041" b="1" baseline="0">
          <a:solidFill>
            <a:schemeClr val="tx2"/>
          </a:solidFill>
          <a:latin typeface="Calibri" panose="020F0502020204030204" pitchFamily="34" charset="0"/>
          <a:ea typeface="+mj-ea"/>
          <a:cs typeface="Calibri" panose="020F050202020403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2"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5" algn="l" defTabSz="895255" rtl="0" eaLnBrk="1" fontAlgn="base" hangingPunct="1">
        <a:spcBef>
          <a:spcPct val="0"/>
        </a:spcBef>
        <a:spcAft>
          <a:spcPct val="0"/>
        </a:spcAft>
        <a:defRPr sz="1900" b="1">
          <a:solidFill>
            <a:schemeClr val="tx2"/>
          </a:solidFill>
          <a:latin typeface="Arial" charset="0"/>
        </a:defRPr>
      </a:lvl8pPr>
      <a:lvl9pPr marL="1828606"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buSzPct val="100000"/>
        <a:defRPr sz="1428" baseline="0">
          <a:solidFill>
            <a:schemeClr val="tx1"/>
          </a:solidFill>
          <a:latin typeface="Calibri" panose="020F0502020204030204" pitchFamily="34" charset="0"/>
          <a:ea typeface="+mn-ea"/>
          <a:cs typeface="Calibri" panose="020F050202020403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428" baseline="0">
          <a:solidFill>
            <a:schemeClr val="tx1"/>
          </a:solidFill>
          <a:latin typeface="Calibri" panose="020F0502020204030204" pitchFamily="34" charset="0"/>
          <a:cs typeface="Calibri" panose="020F0502020204030204" pitchFamily="34" charset="0"/>
        </a:defRPr>
      </a:lvl2pPr>
      <a:lvl3pPr marL="457152" indent="-261910"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3pPr>
      <a:lvl4pPr marL="614298" indent="-155559"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4pPr>
      <a:lvl5pPr marL="749729" indent="-130162" algn="l" defTabSz="895255" rtl="0" eaLnBrk="1" fontAlgn="base" hangingPunct="1">
        <a:spcBef>
          <a:spcPct val="0"/>
        </a:spcBef>
        <a:spcAft>
          <a:spcPct val="0"/>
        </a:spcAft>
        <a:buClr>
          <a:schemeClr val="tx2"/>
        </a:buClr>
        <a:buSzPct val="89000"/>
        <a:buFont typeface="Arial" charset="0"/>
        <a:buChar char="-"/>
        <a:defRPr sz="1428" baseline="0">
          <a:solidFill>
            <a:schemeClr val="tx1"/>
          </a:solidFill>
          <a:latin typeface="Calibri" panose="020F0502020204030204" pitchFamily="34" charset="0"/>
          <a:cs typeface="Calibri" panose="020F0502020204030204" pitchFamily="34" charset="0"/>
        </a:defRPr>
      </a:lvl5pPr>
      <a:lvl6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3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hyperlink" Target="mailto:Kevin.Kobylowski@oshe.nj.gov" TargetMode="External"/><Relationship Id="rId3" Type="http://schemas.openxmlformats.org/officeDocument/2006/relationships/hyperlink" Target="mailto:Peter.Collazo@oshe.nj.gov" TargetMode="External"/><Relationship Id="rId7" Type="http://schemas.openxmlformats.org/officeDocument/2006/relationships/hyperlink" Target="mailto:Angela.Bethea@oshe.nj.gov" TargetMode="External"/><Relationship Id="rId2" Type="http://schemas.openxmlformats.org/officeDocument/2006/relationships/hyperlink" Target="mailto:Hasani.Carter@oshe.nj.gov" TargetMode="External"/><Relationship Id="rId1" Type="http://schemas.openxmlformats.org/officeDocument/2006/relationships/slideLayout" Target="../slideLayouts/slideLayout7.xml"/><Relationship Id="rId6" Type="http://schemas.openxmlformats.org/officeDocument/2006/relationships/hyperlink" Target="mailto:Stephanie.Shanklin@oshe.nj.gov" TargetMode="External"/><Relationship Id="rId5" Type="http://schemas.openxmlformats.org/officeDocument/2006/relationships/hyperlink" Target="mailto:Catherine.Sackey@oshe.nj.gov&#8203;&#8203;" TargetMode="External"/><Relationship Id="rId4" Type="http://schemas.openxmlformats.org/officeDocument/2006/relationships/hyperlink" Target="mailto:Hema.Patel@oshe.nj.gov" TargetMode="External"/><Relationship Id="rId9" Type="http://schemas.openxmlformats.org/officeDocument/2006/relationships/hyperlink" Target="mailto:Tiffany.Hazzard@oshe.nj.gov" TargetMode="Externa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19957" y="629332"/>
            <a:ext cx="10986986" cy="3566160"/>
          </a:xfrm>
        </p:spPr>
        <p:txBody>
          <a:bodyPr>
            <a:normAutofit/>
          </a:bodyPr>
          <a:lstStyle/>
          <a:p>
            <a:r>
              <a:rPr lang="en-US" sz="3600" b="1">
                <a:solidFill>
                  <a:schemeClr val="bg2">
                    <a:lumMod val="25000"/>
                  </a:schemeClr>
                </a:solidFill>
                <a:latin typeface="Montserrat" panose="00000500000000000000" pitchFamily="2" charset="0"/>
                <a:ea typeface="Microsoft JhengHei" panose="020B0604030504040204" pitchFamily="34" charset="-120"/>
              </a:rPr>
              <a:t> </a:t>
            </a:r>
            <a:endParaRPr lang="en-US" sz="3600">
              <a:solidFill>
                <a:srgbClr val="529F45"/>
              </a:solidFill>
              <a:latin typeface="Montserrat" panose="020B0604020202020204" charset="0"/>
              <a:ea typeface="Microsoft JhengHei" panose="020B0604030504040204" pitchFamily="34" charset="-120"/>
            </a:endParaRPr>
          </a:p>
        </p:txBody>
      </p:sp>
      <p:sp>
        <p:nvSpPr>
          <p:cNvPr id="3" name="Subtitle 2"/>
          <p:cNvSpPr>
            <a:spLocks noGrp="1"/>
          </p:cNvSpPr>
          <p:nvPr>
            <p:ph type="subTitle" idx="1"/>
          </p:nvPr>
        </p:nvSpPr>
        <p:spPr>
          <a:xfrm>
            <a:off x="1256768" y="4573465"/>
            <a:ext cx="10557279" cy="1378808"/>
          </a:xfrm>
        </p:spPr>
        <p:txBody>
          <a:bodyPr>
            <a:noAutofit/>
          </a:bodyPr>
          <a:lstStyle/>
          <a:p>
            <a:r>
              <a:rPr lang="en-US" sz="2000"/>
              <a:t>New Jersey Office of the Secretary of Higher Education (OSHE)</a:t>
            </a:r>
          </a:p>
          <a:p>
            <a:r>
              <a:rPr lang="en-US" sz="2000"/>
              <a:t>Educational Opportunity Fund (EOF) Program</a:t>
            </a:r>
          </a:p>
          <a:p>
            <a:endParaRPr lang="en-US" sz="2000" b="1">
              <a:latin typeface="Karla"/>
              <a:ea typeface="Microsoft JhengHei" panose="020B0604030504040204" pitchFamily="34" charset="-120"/>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72339" y="527805"/>
            <a:ext cx="1725118" cy="1725118"/>
          </a:xfrm>
          <a:prstGeom prst="rect">
            <a:avLst/>
          </a:prstGeom>
        </p:spPr>
      </p:pic>
      <p:sp>
        <p:nvSpPr>
          <p:cNvPr id="5" name="Rectangle 4"/>
          <p:cNvSpPr/>
          <p:nvPr/>
        </p:nvSpPr>
        <p:spPr>
          <a:xfrm>
            <a:off x="748768" y="1610169"/>
            <a:ext cx="10557279" cy="1754326"/>
          </a:xfrm>
          <a:prstGeom prst="rect">
            <a:avLst/>
          </a:prstGeom>
        </p:spPr>
        <p:txBody>
          <a:bodyPr wrap="square">
            <a:spAutoFit/>
          </a:bodyPr>
          <a:lstStyle/>
          <a:p>
            <a:r>
              <a:rPr lang="en-US" sz="5400" b="1">
                <a:latin typeface="Montserrat" panose="020B0604020202020204" charset="0"/>
              </a:rPr>
              <a:t>OSHE/EOF Supplemental </a:t>
            </a:r>
          </a:p>
          <a:p>
            <a:r>
              <a:rPr lang="en-US" sz="5400" b="1">
                <a:latin typeface="Montserrat" panose="020B0604020202020204" charset="0"/>
              </a:rPr>
              <a:t>FY 2025 Special Project </a:t>
            </a:r>
            <a:endParaRPr lang="en-US" sz="5400">
              <a:latin typeface="Montserrat" panose="020B0604020202020204" charset="0"/>
            </a:endParaRPr>
          </a:p>
        </p:txBody>
      </p:sp>
    </p:spTree>
    <p:extLst>
      <p:ext uri="{BB962C8B-B14F-4D97-AF65-F5344CB8AC3E}">
        <p14:creationId xmlns:p14="http://schemas.microsoft.com/office/powerpoint/2010/main" val="20275701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2312D7F-D70C-0E30-3D23-0B72ECC6AA4A}"/>
              </a:ext>
            </a:extLst>
          </p:cNvPr>
          <p:cNvSpPr>
            <a:spLocks noGrp="1"/>
          </p:cNvSpPr>
          <p:nvPr>
            <p:ph type="sldNum" sz="quarter" idx="12"/>
          </p:nvPr>
        </p:nvSpPr>
        <p:spPr/>
        <p:txBody>
          <a:bodyPr/>
          <a:lstStyle/>
          <a:p>
            <a:fld id="{82E0CA47-81CF-4842-A6CE-0A6037062406}" type="slidenum">
              <a:rPr lang="en-US" smtClean="0"/>
              <a:pPr/>
              <a:t>10</a:t>
            </a:fld>
            <a:endParaRPr lang="en-US"/>
          </a:p>
        </p:txBody>
      </p:sp>
      <p:sp>
        <p:nvSpPr>
          <p:cNvPr id="7" name="Title 1">
            <a:extLst>
              <a:ext uri="{FF2B5EF4-FFF2-40B4-BE49-F238E27FC236}">
                <a16:creationId xmlns:a16="http://schemas.microsoft.com/office/drawing/2014/main" id="{030A8F99-F8A8-8851-D5E6-92F4D68D6447}"/>
              </a:ext>
            </a:extLst>
          </p:cNvPr>
          <p:cNvSpPr>
            <a:spLocks noGrp="1"/>
          </p:cNvSpPr>
          <p:nvPr>
            <p:ph type="title"/>
          </p:nvPr>
        </p:nvSpPr>
        <p:spPr>
          <a:xfrm>
            <a:off x="1097280" y="286603"/>
            <a:ext cx="11064815" cy="1436380"/>
          </a:xfrm>
        </p:spPr>
        <p:txBody>
          <a:bodyPr>
            <a:normAutofit/>
          </a:bodyPr>
          <a:lstStyle/>
          <a:p>
            <a:r>
              <a:rPr lang="en-US" sz="4400">
                <a:latin typeface="Montserrat"/>
              </a:rPr>
              <a:t>Encumbered Fund Usage Examples</a:t>
            </a:r>
            <a:endParaRPr lang="en-US" sz="4400"/>
          </a:p>
        </p:txBody>
      </p:sp>
      <p:sp>
        <p:nvSpPr>
          <p:cNvPr id="8" name="Rectangle: Rounded Corners 7">
            <a:extLst>
              <a:ext uri="{FF2B5EF4-FFF2-40B4-BE49-F238E27FC236}">
                <a16:creationId xmlns:a16="http://schemas.microsoft.com/office/drawing/2014/main" id="{A5AB97D0-39F8-69FF-0F01-88F1E1699776}"/>
              </a:ext>
            </a:extLst>
          </p:cNvPr>
          <p:cNvSpPr/>
          <p:nvPr/>
        </p:nvSpPr>
        <p:spPr>
          <a:xfrm>
            <a:off x="1097351" y="1975450"/>
            <a:ext cx="3163021" cy="4126300"/>
          </a:xfrm>
          <a:prstGeom prst="round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rgbClr val="FFFFFF"/>
                </a:solidFill>
                <a:cs typeface="Calibri"/>
              </a:rPr>
              <a:t>A consultant is hired to come and facilitate a workshop for EOF students on June 29, 2025. The program has a signed contract/invoice showing that the consultant will be paid for their work after the completion of the workshop. Funds must be encumbered for this purpose, especially if payment is issued after June 30, 2025. </a:t>
            </a:r>
            <a:endParaRPr lang="en-US"/>
          </a:p>
        </p:txBody>
      </p:sp>
      <p:sp>
        <p:nvSpPr>
          <p:cNvPr id="13" name="Rectangle: Rounded Corners 12">
            <a:extLst>
              <a:ext uri="{FF2B5EF4-FFF2-40B4-BE49-F238E27FC236}">
                <a16:creationId xmlns:a16="http://schemas.microsoft.com/office/drawing/2014/main" id="{827808EA-4E2E-3A66-A7C6-59295C2DE2E3}"/>
              </a:ext>
            </a:extLst>
          </p:cNvPr>
          <p:cNvSpPr/>
          <p:nvPr/>
        </p:nvSpPr>
        <p:spPr>
          <a:xfrm>
            <a:off x="4576671" y="1975450"/>
            <a:ext cx="3163021" cy="4126300"/>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50">
                <a:cs typeface="Calibri"/>
              </a:rPr>
              <a:t>A program orders a special book for students that provides guidance on how to be more effective with time management. The book is currently on back-order. The program orders the book during the allowable time period and expects to receive it before June 30, 2025. The books arrive on July 2, 2025. Since the funds were encumbered for this purpose and the reason for the delay in receiving the books is due to issues with the availability and shipping challenges, OSHE/EOF would permit the program to remit payment for this purpose with the encumbered funds</a:t>
            </a:r>
          </a:p>
        </p:txBody>
      </p:sp>
      <p:sp>
        <p:nvSpPr>
          <p:cNvPr id="14" name="Rectangle: Rounded Corners 13">
            <a:extLst>
              <a:ext uri="{FF2B5EF4-FFF2-40B4-BE49-F238E27FC236}">
                <a16:creationId xmlns:a16="http://schemas.microsoft.com/office/drawing/2014/main" id="{AB660217-AFD4-57C0-23FD-9B3B0EA3768E}"/>
              </a:ext>
            </a:extLst>
          </p:cNvPr>
          <p:cNvSpPr/>
          <p:nvPr/>
        </p:nvSpPr>
        <p:spPr>
          <a:xfrm>
            <a:off x="8041614" y="1975449"/>
            <a:ext cx="3163021" cy="4126300"/>
          </a:xfrm>
          <a:prstGeom prst="round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450">
                <a:solidFill>
                  <a:schemeClr val="tx1"/>
                </a:solidFill>
                <a:cs typeface="Calibri"/>
              </a:rPr>
              <a:t>A program orders a special book for students that provides guidance on how to be more effective with time management. The book is currently on back-order. The program orders the book during the allowable time period and expects to receive it before June 30, 2025. The supplier informs the program that the books are no longer available. While funds were encumbered for this purpose the program may not create a new order as this order will be made in a new fiscal year. All regulations pertaining to the restrictions of the usage of EOF funds will continue to apply. </a:t>
            </a:r>
            <a:endParaRPr lang="en-US" sz="1450">
              <a:solidFill>
                <a:schemeClr val="tx1"/>
              </a:solidFill>
            </a:endParaRPr>
          </a:p>
        </p:txBody>
      </p:sp>
    </p:spTree>
    <p:extLst>
      <p:ext uri="{BB962C8B-B14F-4D97-AF65-F5344CB8AC3E}">
        <p14:creationId xmlns:p14="http://schemas.microsoft.com/office/powerpoint/2010/main" val="3564714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2B6C9846-B5AB-4E52-988D-F7E5865C9E4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07"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6F3D7E8E-8467-4198-87E0-ADC1B60467F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07" y="4953000"/>
            <a:ext cx="12188952"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5A34902F-928F-BAFD-64B9-CCCA87FD6BDA}"/>
              </a:ext>
            </a:extLst>
          </p:cNvPr>
          <p:cNvSpPr>
            <a:spLocks noGrp="1"/>
          </p:cNvSpPr>
          <p:nvPr>
            <p:ph type="title"/>
          </p:nvPr>
        </p:nvSpPr>
        <p:spPr>
          <a:xfrm>
            <a:off x="1066800" y="5252936"/>
            <a:ext cx="10058400" cy="1028715"/>
          </a:xfrm>
        </p:spPr>
        <p:txBody>
          <a:bodyPr>
            <a:normAutofit/>
          </a:bodyPr>
          <a:lstStyle/>
          <a:p>
            <a:pPr algn="ctr"/>
            <a:r>
              <a:rPr lang="en-US" b="1" kern="1200" spc="-50" baseline="0">
                <a:solidFill>
                  <a:srgbClr val="FFFFFF"/>
                </a:solidFill>
                <a:latin typeface="Montserrat"/>
                <a:ea typeface="Calibri Light"/>
                <a:cs typeface="Calibri Light"/>
              </a:rPr>
              <a:t>Budget Modifications</a:t>
            </a:r>
            <a:endParaRPr lang="en-US">
              <a:solidFill>
                <a:srgbClr val="FFFFFF"/>
              </a:solidFill>
            </a:endParaRPr>
          </a:p>
        </p:txBody>
      </p:sp>
      <p:sp>
        <p:nvSpPr>
          <p:cNvPr id="24" name="Rectangle 23">
            <a:extLst>
              <a:ext uri="{FF2B5EF4-FFF2-40B4-BE49-F238E27FC236}">
                <a16:creationId xmlns:a16="http://schemas.microsoft.com/office/drawing/2014/main" id="{399F85BF-36D0-4946-AAE8-69B89D44E6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07" y="4906176"/>
            <a:ext cx="12188952"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Slide Number Placeholder 3">
            <a:extLst>
              <a:ext uri="{FF2B5EF4-FFF2-40B4-BE49-F238E27FC236}">
                <a16:creationId xmlns:a16="http://schemas.microsoft.com/office/drawing/2014/main" id="{03B3D849-8394-F5C6-21B3-427B1EC2E71A}"/>
              </a:ext>
            </a:extLst>
          </p:cNvPr>
          <p:cNvSpPr>
            <a:spLocks noGrp="1"/>
          </p:cNvSpPr>
          <p:nvPr>
            <p:ph type="sldNum" sz="quarter" idx="12"/>
          </p:nvPr>
        </p:nvSpPr>
        <p:spPr>
          <a:xfrm>
            <a:off x="9900458" y="6459785"/>
            <a:ext cx="1312025" cy="365125"/>
          </a:xfrm>
        </p:spPr>
        <p:txBody>
          <a:bodyPr>
            <a:normAutofit/>
          </a:bodyPr>
          <a:lstStyle/>
          <a:p>
            <a:pPr>
              <a:spcAft>
                <a:spcPts val="600"/>
              </a:spcAft>
            </a:pPr>
            <a:fld id="{82E0CA47-81CF-4842-A6CE-0A6037062406}" type="slidenum">
              <a:rPr lang="en-US" smtClean="0"/>
              <a:pPr>
                <a:spcAft>
                  <a:spcPts val="600"/>
                </a:spcAft>
              </a:pPr>
              <a:t>11</a:t>
            </a:fld>
            <a:endParaRPr lang="en-US"/>
          </a:p>
        </p:txBody>
      </p:sp>
      <p:graphicFrame>
        <p:nvGraphicFramePr>
          <p:cNvPr id="25" name="Content Placeholder 2">
            <a:extLst>
              <a:ext uri="{FF2B5EF4-FFF2-40B4-BE49-F238E27FC236}">
                <a16:creationId xmlns:a16="http://schemas.microsoft.com/office/drawing/2014/main" id="{BD3B59B1-C6D8-402D-F422-AB288E558101}"/>
              </a:ext>
            </a:extLst>
          </p:cNvPr>
          <p:cNvGraphicFramePr>
            <a:graphicFrameLocks noGrp="1"/>
          </p:cNvGraphicFramePr>
          <p:nvPr>
            <p:ph idx="1"/>
            <p:extLst>
              <p:ext uri="{D42A27DB-BD31-4B8C-83A1-F6EECF244321}">
                <p14:modId xmlns:p14="http://schemas.microsoft.com/office/powerpoint/2010/main" val="1770709880"/>
              </p:ext>
            </p:extLst>
          </p:nvPr>
        </p:nvGraphicFramePr>
        <p:xfrm>
          <a:off x="643466" y="643467"/>
          <a:ext cx="10900477" cy="36192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876188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EE1530B0-6F96-46C0-8B3E-3215CB756BE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85"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754910CF-1B56-45D3-960A-E89F7B3B91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92370" y="516835"/>
            <a:ext cx="3084844" cy="5772840"/>
          </a:xfrm>
        </p:spPr>
        <p:txBody>
          <a:bodyPr anchor="ctr">
            <a:normAutofit/>
          </a:bodyPr>
          <a:lstStyle/>
          <a:p>
            <a:r>
              <a:rPr lang="en-US" sz="3100">
                <a:solidFill>
                  <a:srgbClr val="FFFFFF"/>
                </a:solidFill>
                <a:latin typeface="Montserrat" panose="020B0604020202020204" charset="0"/>
              </a:rPr>
              <a:t>Reporting Requirements</a:t>
            </a:r>
          </a:p>
        </p:txBody>
      </p:sp>
      <p:sp>
        <p:nvSpPr>
          <p:cNvPr id="14" name="Rectangle 13">
            <a:extLst>
              <a:ext uri="{FF2B5EF4-FFF2-40B4-BE49-F238E27FC236}">
                <a16:creationId xmlns:a16="http://schemas.microsoft.com/office/drawing/2014/main" id="{6669F804-A677-4B75-95F4-A5E4426FB77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Slide Number Placeholder 3"/>
          <p:cNvSpPr>
            <a:spLocks noGrp="1"/>
          </p:cNvSpPr>
          <p:nvPr>
            <p:ph type="sldNum" sz="quarter" idx="12"/>
          </p:nvPr>
        </p:nvSpPr>
        <p:spPr>
          <a:xfrm>
            <a:off x="10123055" y="6459785"/>
            <a:ext cx="1089428" cy="365125"/>
          </a:xfrm>
        </p:spPr>
        <p:txBody>
          <a:bodyPr>
            <a:normAutofit/>
          </a:bodyPr>
          <a:lstStyle/>
          <a:p>
            <a:pPr>
              <a:spcAft>
                <a:spcPts val="600"/>
              </a:spcAft>
            </a:pPr>
            <a:fld id="{82E0CA47-81CF-4842-A6CE-0A6037062406}" type="slidenum">
              <a:rPr lang="en-US">
                <a:solidFill>
                  <a:schemeClr val="tx2"/>
                </a:solidFill>
              </a:rPr>
              <a:pPr>
                <a:spcAft>
                  <a:spcPts val="600"/>
                </a:spcAft>
              </a:pPr>
              <a:t>12</a:t>
            </a:fld>
            <a:endParaRPr lang="en-US">
              <a:solidFill>
                <a:schemeClr val="tx2"/>
              </a:solidFill>
            </a:endParaRPr>
          </a:p>
        </p:txBody>
      </p:sp>
      <p:graphicFrame>
        <p:nvGraphicFramePr>
          <p:cNvPr id="6" name="Content Placeholder 2">
            <a:extLst>
              <a:ext uri="{FF2B5EF4-FFF2-40B4-BE49-F238E27FC236}">
                <a16:creationId xmlns:a16="http://schemas.microsoft.com/office/drawing/2014/main" id="{667E1853-20D7-D21A-29AD-203666858154}"/>
              </a:ext>
            </a:extLst>
          </p:cNvPr>
          <p:cNvGraphicFramePr>
            <a:graphicFrameLocks noGrp="1"/>
          </p:cNvGraphicFramePr>
          <p:nvPr>
            <p:ph idx="1"/>
            <p:extLst>
              <p:ext uri="{D42A27DB-BD31-4B8C-83A1-F6EECF244321}">
                <p14:modId xmlns:p14="http://schemas.microsoft.com/office/powerpoint/2010/main" val="1873891111"/>
              </p:ext>
            </p:extLst>
          </p:nvPr>
        </p:nvGraphicFramePr>
        <p:xfrm>
          <a:off x="4741863" y="639763"/>
          <a:ext cx="6797675" cy="56499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550751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br>
              <a:rPr lang="en-US" dirty="0">
                <a:latin typeface="Karla" panose="020B0604020202020204" charset="0"/>
              </a:rPr>
            </a:br>
            <a:br>
              <a:rPr lang="en-US" dirty="0">
                <a:latin typeface="Karla" panose="020B0604020202020204" charset="0"/>
              </a:rPr>
            </a:br>
            <a:br>
              <a:rPr lang="en-US" dirty="0">
                <a:latin typeface="Karla" panose="020B0604020202020204" charset="0"/>
              </a:rPr>
            </a:br>
            <a:br>
              <a:rPr lang="en-US" dirty="0">
                <a:latin typeface="Karla" panose="020B0604020202020204" charset="0"/>
              </a:rPr>
            </a:br>
            <a:br>
              <a:rPr lang="en-US" dirty="0">
                <a:latin typeface="Karla" panose="020B0604020202020204" charset="0"/>
              </a:rPr>
            </a:br>
            <a:r>
              <a:rPr lang="en-US" sz="4000" dirty="0">
                <a:latin typeface="Montserrat"/>
              </a:rPr>
              <a:t>Deadlines and Submission Requirements:</a:t>
            </a:r>
          </a:p>
        </p:txBody>
      </p:sp>
      <p:sp>
        <p:nvSpPr>
          <p:cNvPr id="3" name="Content Placeholder 2"/>
          <p:cNvSpPr>
            <a:spLocks noGrp="1"/>
          </p:cNvSpPr>
          <p:nvPr>
            <p:ph sz="half" idx="1"/>
          </p:nvPr>
        </p:nvSpPr>
        <p:spPr>
          <a:xfrm>
            <a:off x="1097280" y="1928861"/>
            <a:ext cx="4937760" cy="4023359"/>
          </a:xfrm>
        </p:spPr>
        <p:txBody>
          <a:bodyPr vert="horz" lIns="0" tIns="45720" rIns="0" bIns="45720" rtlCol="0" anchor="t">
            <a:normAutofit/>
          </a:bodyPr>
          <a:lstStyle/>
          <a:p>
            <a:pPr>
              <a:buFont typeface="Wingdings" panose="05000000000000000000" pitchFamily="2" charset="2"/>
              <a:buChar char="q"/>
            </a:pPr>
            <a:r>
              <a:rPr lang="en-US" b="1" dirty="0">
                <a:latin typeface="Karla"/>
              </a:rPr>
              <a:t>Application due date:</a:t>
            </a:r>
          </a:p>
          <a:p>
            <a:r>
              <a:rPr lang="en-US" b="1" dirty="0">
                <a:latin typeface="Karla"/>
              </a:rPr>
              <a:t>September 3, 2024</a:t>
            </a:r>
          </a:p>
          <a:p>
            <a:endParaRPr lang="en-US" dirty="0">
              <a:latin typeface="Karla" panose="020B0604020202020204" charset="0"/>
            </a:endParaRPr>
          </a:p>
          <a:p>
            <a:pPr>
              <a:buFont typeface="Wingdings" panose="05000000000000000000" pitchFamily="2" charset="2"/>
              <a:buChar char="q"/>
            </a:pPr>
            <a:r>
              <a:rPr lang="en-US" b="1" dirty="0">
                <a:latin typeface="Karla"/>
              </a:rPr>
              <a:t>EOF Special Projects Application Review:</a:t>
            </a:r>
          </a:p>
          <a:p>
            <a:pPr marL="0" indent="0">
              <a:buNone/>
            </a:pPr>
            <a:r>
              <a:rPr lang="en-US" b="1" dirty="0">
                <a:latin typeface="Karla"/>
              </a:rPr>
              <a:t>September 6</a:t>
            </a:r>
            <a:r>
              <a:rPr lang="en-US" b="1" baseline="30000" dirty="0">
                <a:latin typeface="Karla"/>
              </a:rPr>
              <a:t>th</a:t>
            </a:r>
            <a:r>
              <a:rPr lang="en-US" b="1" dirty="0">
                <a:latin typeface="Karla"/>
              </a:rPr>
              <a:t> – September 13</a:t>
            </a:r>
            <a:r>
              <a:rPr lang="en-US" b="1" baseline="30000" dirty="0">
                <a:latin typeface="Karla"/>
              </a:rPr>
              <a:t>th</a:t>
            </a:r>
            <a:r>
              <a:rPr lang="en-US" b="1" dirty="0">
                <a:latin typeface="Karla"/>
              </a:rPr>
              <a:t>  </a:t>
            </a:r>
            <a:endParaRPr lang="en-US" b="1" dirty="0">
              <a:latin typeface="Karla" panose="020B0604020202020204" charset="0"/>
            </a:endParaRPr>
          </a:p>
          <a:p>
            <a:pPr marL="0" indent="0">
              <a:buNone/>
            </a:pPr>
            <a:endParaRPr lang="en-US" dirty="0">
              <a:latin typeface="Karla" panose="020B0604020202020204" charset="0"/>
            </a:endParaRPr>
          </a:p>
          <a:p>
            <a:pPr>
              <a:buFont typeface="Wingdings" panose="05000000000000000000" pitchFamily="2" charset="2"/>
              <a:buChar char="q"/>
            </a:pPr>
            <a:r>
              <a:rPr lang="en-US" b="1" dirty="0">
                <a:latin typeface="Karla"/>
              </a:rPr>
              <a:t>Email notification to the programs:</a:t>
            </a:r>
          </a:p>
          <a:p>
            <a:r>
              <a:rPr lang="en-US" b="1" dirty="0">
                <a:latin typeface="Karla"/>
              </a:rPr>
              <a:t>September 23, 2024 </a:t>
            </a:r>
            <a:endParaRPr lang="en-US" b="1" dirty="0">
              <a:latin typeface="Karla" panose="020B0604020202020204" charset="0"/>
            </a:endParaRPr>
          </a:p>
          <a:p>
            <a:pPr marL="0" indent="0">
              <a:buNone/>
            </a:pPr>
            <a:endParaRPr lang="en-US" b="1" dirty="0">
              <a:latin typeface="Karla" panose="020B0604020202020204" charset="0"/>
            </a:endParaRPr>
          </a:p>
          <a:p>
            <a:endParaRPr lang="en-US" dirty="0">
              <a:latin typeface="Karla" panose="020B0604020202020204" charset="0"/>
            </a:endParaRPr>
          </a:p>
        </p:txBody>
      </p:sp>
      <p:sp>
        <p:nvSpPr>
          <p:cNvPr id="5" name="Content Placeholder 4"/>
          <p:cNvSpPr>
            <a:spLocks noGrp="1"/>
          </p:cNvSpPr>
          <p:nvPr>
            <p:ph sz="half" idx="2"/>
          </p:nvPr>
        </p:nvSpPr>
        <p:spPr/>
        <p:txBody>
          <a:bodyPr>
            <a:normAutofit/>
          </a:bodyPr>
          <a:lstStyle/>
          <a:p>
            <a:pPr>
              <a:buFont typeface="Wingdings" panose="05000000000000000000" pitchFamily="2" charset="2"/>
              <a:buChar char="q"/>
            </a:pPr>
            <a:r>
              <a:rPr lang="en-US" b="1" dirty="0">
                <a:latin typeface="Karla" panose="020B0604020202020204" charset="0"/>
              </a:rPr>
              <a:t>Budget Modification:</a:t>
            </a:r>
          </a:p>
          <a:p>
            <a:pPr marL="0" indent="0">
              <a:buNone/>
            </a:pPr>
            <a:r>
              <a:rPr lang="en-US" b="1" dirty="0">
                <a:latin typeface="Karla" panose="020B0604020202020204" charset="0"/>
              </a:rPr>
              <a:t>May 1, 2025</a:t>
            </a:r>
          </a:p>
          <a:p>
            <a:pPr marL="0" indent="0">
              <a:buNone/>
            </a:pPr>
            <a:endParaRPr lang="en-US" b="1" dirty="0">
              <a:latin typeface="Karla" panose="020B0604020202020204" charset="0"/>
            </a:endParaRPr>
          </a:p>
          <a:p>
            <a:pPr>
              <a:buFont typeface="Wingdings" panose="05000000000000000000" pitchFamily="2" charset="2"/>
              <a:buChar char="q"/>
            </a:pPr>
            <a:r>
              <a:rPr lang="en-US" b="1" dirty="0">
                <a:latin typeface="Karla" panose="020B0604020202020204" charset="0"/>
              </a:rPr>
              <a:t>Funds must be encumbered:</a:t>
            </a:r>
          </a:p>
          <a:p>
            <a:pPr marL="0" indent="0">
              <a:buNone/>
            </a:pPr>
            <a:r>
              <a:rPr lang="en-US" b="1" dirty="0">
                <a:latin typeface="Karla" panose="020B0604020202020204" charset="0"/>
              </a:rPr>
              <a:t>June 30, 2025</a:t>
            </a:r>
          </a:p>
          <a:p>
            <a:pPr marL="0" indent="0">
              <a:buNone/>
            </a:pPr>
            <a:endParaRPr lang="en-US" b="1" dirty="0">
              <a:latin typeface="Karla" panose="020B0604020202020204" charset="0"/>
            </a:endParaRPr>
          </a:p>
          <a:p>
            <a:pPr>
              <a:buFont typeface="Wingdings" panose="05000000000000000000" pitchFamily="2" charset="2"/>
              <a:buChar char="q"/>
            </a:pPr>
            <a:r>
              <a:rPr lang="en-US" b="1" dirty="0">
                <a:latin typeface="Karla" panose="020B0604020202020204" charset="0"/>
              </a:rPr>
              <a:t>FINAL EXPENDITURE REPORT DEADLINE: </a:t>
            </a:r>
          </a:p>
          <a:p>
            <a:r>
              <a:rPr lang="en-US" b="1" dirty="0">
                <a:latin typeface="Karla" panose="020B0604020202020204" charset="0"/>
              </a:rPr>
              <a:t>August 15, 2025</a:t>
            </a:r>
          </a:p>
          <a:p>
            <a:endParaRPr lang="en-US" dirty="0"/>
          </a:p>
        </p:txBody>
      </p:sp>
      <p:sp>
        <p:nvSpPr>
          <p:cNvPr id="4" name="Slide Number Placeholder 3"/>
          <p:cNvSpPr>
            <a:spLocks noGrp="1"/>
          </p:cNvSpPr>
          <p:nvPr>
            <p:ph type="sldNum" sz="quarter" idx="12"/>
          </p:nvPr>
        </p:nvSpPr>
        <p:spPr/>
        <p:txBody>
          <a:bodyPr/>
          <a:lstStyle/>
          <a:p>
            <a:fld id="{82E0CA47-81CF-4842-A6CE-0A6037062406}" type="slidenum">
              <a:rPr lang="en-US" smtClean="0"/>
              <a:pPr/>
              <a:t>13</a:t>
            </a:fld>
            <a:endParaRPr lang="en-US"/>
          </a:p>
        </p:txBody>
      </p:sp>
    </p:spTree>
    <p:extLst>
      <p:ext uri="{BB962C8B-B14F-4D97-AF65-F5344CB8AC3E}">
        <p14:creationId xmlns:p14="http://schemas.microsoft.com/office/powerpoint/2010/main" val="15236525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240A2FC-E2C3-458D-96B4-5DF9028D93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a:extLst>
              <a:ext uri="{FF2B5EF4-FFF2-40B4-BE49-F238E27FC236}">
                <a16:creationId xmlns:a16="http://schemas.microsoft.com/office/drawing/2014/main" id="{5F097929-F3D6-4D1F-8AFC-CF348171A9E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cxnSp>
        <p:nvCxnSpPr>
          <p:cNvPr id="14" name="Straight Connector 13">
            <a:extLst>
              <a:ext uri="{FF2B5EF4-FFF2-40B4-BE49-F238E27FC236}">
                <a16:creationId xmlns:a16="http://schemas.microsoft.com/office/drawing/2014/main" id="{43074C91-9045-414B-B5F9-567DAE3EED2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useBgFill="1">
        <p:nvSpPr>
          <p:cNvPr id="16" name="Rectangle 15">
            <a:extLst>
              <a:ext uri="{FF2B5EF4-FFF2-40B4-BE49-F238E27FC236}">
                <a16:creationId xmlns:a16="http://schemas.microsoft.com/office/drawing/2014/main" id="{2779F603-B669-4AD6-82F9-E09F76165B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1"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BD8DCFB8-CBD2-8AC1-5DA9-B136926B2A37}"/>
              </a:ext>
            </a:extLst>
          </p:cNvPr>
          <p:cNvSpPr txBox="1"/>
          <p:nvPr/>
        </p:nvSpPr>
        <p:spPr>
          <a:xfrm>
            <a:off x="5289754" y="639097"/>
            <a:ext cx="6253317" cy="3686015"/>
          </a:xfrm>
          <a:prstGeom prst="rect">
            <a:avLst/>
          </a:prstGeom>
        </p:spPr>
        <p:txBody>
          <a:bodyPr rot="0" spcFirstLastPara="0" vertOverflow="overflow" horzOverflow="overflow" vert="horz" lIns="91440" tIns="45720" rIns="91440" bIns="45720" numCol="1" spcCol="0" rtlCol="0" fromWordArt="0" anchor="b" anchorCtr="0" forceAA="0" compatLnSpc="1">
            <a:prstTxWarp prst="textNoShape">
              <a:avLst/>
            </a:prstTxWarp>
            <a:normAutofit/>
          </a:bodyPr>
          <a:lstStyle/>
          <a:p>
            <a:pPr>
              <a:lnSpc>
                <a:spcPct val="85000"/>
              </a:lnSpc>
              <a:spcBef>
                <a:spcPct val="0"/>
              </a:spcBef>
              <a:spcAft>
                <a:spcPts val="600"/>
              </a:spcAft>
            </a:pPr>
            <a:r>
              <a:rPr lang="en-US" sz="8000" spc="-50">
                <a:solidFill>
                  <a:schemeClr val="tx1">
                    <a:lumMod val="85000"/>
                    <a:lumOff val="15000"/>
                  </a:schemeClr>
                </a:solidFill>
                <a:latin typeface="Montserrat"/>
                <a:ea typeface="+mj-ea"/>
                <a:cs typeface="+mj-cs"/>
              </a:rPr>
              <a:t>Questions </a:t>
            </a:r>
          </a:p>
        </p:txBody>
      </p:sp>
      <p:pic>
        <p:nvPicPr>
          <p:cNvPr id="7" name="Graphic 6" descr="Help">
            <a:extLst>
              <a:ext uri="{FF2B5EF4-FFF2-40B4-BE49-F238E27FC236}">
                <a16:creationId xmlns:a16="http://schemas.microsoft.com/office/drawing/2014/main" id="{EB9CD3F6-2B2F-CF59-D5EE-FFF4816E0E5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3999" y="1163529"/>
            <a:ext cx="4001315" cy="4001315"/>
          </a:xfrm>
          <a:prstGeom prst="rect">
            <a:avLst/>
          </a:prstGeom>
        </p:spPr>
      </p:pic>
      <p:cxnSp>
        <p:nvCxnSpPr>
          <p:cNvPr id="18" name="Straight Connector 17">
            <a:extLst>
              <a:ext uri="{FF2B5EF4-FFF2-40B4-BE49-F238E27FC236}">
                <a16:creationId xmlns:a16="http://schemas.microsoft.com/office/drawing/2014/main" id="{7ABFD994-C2DC-4E7D-9411-C7FF7813EF4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5447071" y="4343400"/>
            <a:ext cx="5636107" cy="0"/>
          </a:xfrm>
          <a:prstGeom prst="line">
            <a:avLst/>
          </a:prstGeom>
          <a:ln w="6350">
            <a:solidFill>
              <a:schemeClr val="tx2">
                <a:alpha val="90000"/>
              </a:schemeClr>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BC0D1FC6-352C-4C7D-825F-C4E2F6A8059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2" name="Rectangle 21">
            <a:extLst>
              <a:ext uri="{FF2B5EF4-FFF2-40B4-BE49-F238E27FC236}">
                <a16:creationId xmlns:a16="http://schemas.microsoft.com/office/drawing/2014/main" id="{541AFC2C-CD98-4478-AB71-1A864026D92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Slide Number Placeholder 2"/>
          <p:cNvSpPr>
            <a:spLocks noGrp="1"/>
          </p:cNvSpPr>
          <p:nvPr>
            <p:ph type="sldNum" sz="quarter" idx="12"/>
          </p:nvPr>
        </p:nvSpPr>
        <p:spPr>
          <a:xfrm>
            <a:off x="9900458" y="6459785"/>
            <a:ext cx="1312025" cy="365125"/>
          </a:xfrm>
        </p:spPr>
        <p:txBody>
          <a:bodyPr vert="horz" lIns="91440" tIns="45720" rIns="91440" bIns="45720" rtlCol="0" anchor="ctr">
            <a:normAutofit/>
          </a:bodyPr>
          <a:lstStyle/>
          <a:p>
            <a:pPr>
              <a:spcAft>
                <a:spcPts val="600"/>
              </a:spcAft>
            </a:pPr>
            <a:fld id="{82E0CA47-81CF-4842-A6CE-0A6037062406}" type="slidenum">
              <a:rPr lang="en-US" smtClean="0"/>
              <a:pPr>
                <a:spcAft>
                  <a:spcPts val="600"/>
                </a:spcAft>
              </a:pPr>
              <a:t>14</a:t>
            </a:fld>
            <a:endParaRPr lang="en-US"/>
          </a:p>
        </p:txBody>
      </p:sp>
    </p:spTree>
    <p:extLst>
      <p:ext uri="{BB962C8B-B14F-4D97-AF65-F5344CB8AC3E}">
        <p14:creationId xmlns:p14="http://schemas.microsoft.com/office/powerpoint/2010/main" val="4701878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NJ State Educational Plan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2042" y="554079"/>
            <a:ext cx="10581873" cy="203172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1411357" y="2950772"/>
            <a:ext cx="9660834" cy="1631216"/>
          </a:xfrm>
          <a:prstGeom prst="rect">
            <a:avLst/>
          </a:prstGeom>
        </p:spPr>
        <p:txBody>
          <a:bodyPr wrap="square">
            <a:spAutoFit/>
          </a:bodyPr>
          <a:lstStyle/>
          <a:p>
            <a:pPr algn="ctr"/>
            <a:r>
              <a:rPr lang="en-US" sz="7200" b="1">
                <a:latin typeface="Montserrat" panose="020B0604020202020204" charset="0"/>
                <a:ea typeface="Microsoft JhengHei" panose="020B0604030504040204" pitchFamily="34" charset="-120"/>
              </a:rPr>
              <a:t>Thank You!</a:t>
            </a:r>
            <a:br>
              <a:rPr lang="en-US" sz="2800">
                <a:latin typeface="Montserrat" panose="020B0604020202020204" charset="0"/>
              </a:rPr>
            </a:br>
            <a:r>
              <a:rPr lang="en-US" sz="2800">
                <a:latin typeface="Montserrat" panose="020B0604020202020204" charset="0"/>
              </a:rPr>
              <a:t>We look forward to working with you</a:t>
            </a:r>
            <a:endParaRPr lang="en-US" sz="2800" b="1">
              <a:latin typeface="Montserrat" panose="020B0604020202020204" charset="0"/>
              <a:ea typeface="Microsoft JhengHei" panose="020B0604030504040204" pitchFamily="34" charset="-120"/>
            </a:endParaRPr>
          </a:p>
        </p:txBody>
      </p:sp>
      <p:pic>
        <p:nvPicPr>
          <p:cNvPr id="2" name="Picture 1"/>
          <p:cNvPicPr>
            <a:picLocks noChangeAspect="1"/>
          </p:cNvPicPr>
          <p:nvPr/>
        </p:nvPicPr>
        <p:blipFill rotWithShape="1">
          <a:blip r:embed="rId4">
            <a:extLst>
              <a:ext uri="{28A0092B-C50C-407E-A947-70E740481C1C}">
                <a14:useLocalDpi xmlns:a14="http://schemas.microsoft.com/office/drawing/2010/main" val="0"/>
              </a:ext>
            </a:extLst>
          </a:blip>
          <a:srcRect l="60635" t="91167" r="7620" b="635"/>
          <a:stretch/>
        </p:blipFill>
        <p:spPr>
          <a:xfrm>
            <a:off x="4770603" y="5531780"/>
            <a:ext cx="2514600" cy="649391"/>
          </a:xfrm>
          <a:prstGeom prst="rect">
            <a:avLst/>
          </a:prstGeom>
        </p:spPr>
      </p:pic>
      <p:sp>
        <p:nvSpPr>
          <p:cNvPr id="3" name="Slide Number Placeholder 2"/>
          <p:cNvSpPr>
            <a:spLocks noGrp="1"/>
          </p:cNvSpPr>
          <p:nvPr>
            <p:ph type="sldNum" sz="quarter" idx="12"/>
          </p:nvPr>
        </p:nvSpPr>
        <p:spPr/>
        <p:txBody>
          <a:bodyPr/>
          <a:lstStyle/>
          <a:p>
            <a:fld id="{82E0CA47-81CF-4842-A6CE-0A6037062406}" type="slidenum">
              <a:rPr lang="en-US" smtClean="0"/>
              <a:pPr/>
              <a:t>15</a:t>
            </a:fld>
            <a:endParaRPr lang="en-US"/>
          </a:p>
        </p:txBody>
      </p:sp>
    </p:spTree>
    <p:extLst>
      <p:ext uri="{BB962C8B-B14F-4D97-AF65-F5344CB8AC3E}">
        <p14:creationId xmlns:p14="http://schemas.microsoft.com/office/powerpoint/2010/main" val="27188388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8C6E698C-8155-4B8B-BDC9-B7299772B5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5220928" y="965200"/>
            <a:ext cx="5999002" cy="4927600"/>
          </a:xfrm>
        </p:spPr>
        <p:txBody>
          <a:bodyPr anchor="ctr">
            <a:normAutofit/>
          </a:bodyPr>
          <a:lstStyle/>
          <a:p>
            <a:r>
              <a:rPr lang="en-US" sz="6200">
                <a:solidFill>
                  <a:schemeClr val="tx2"/>
                </a:solidFill>
                <a:latin typeface="Montserrat" panose="020B0604020202020204" charset="0"/>
              </a:rPr>
              <a:t>Welcome &amp; Introductions</a:t>
            </a:r>
          </a:p>
        </p:txBody>
      </p:sp>
      <p:sp>
        <p:nvSpPr>
          <p:cNvPr id="9" name="Rectangle 8">
            <a:extLst>
              <a:ext uri="{FF2B5EF4-FFF2-40B4-BE49-F238E27FC236}">
                <a16:creationId xmlns:a16="http://schemas.microsoft.com/office/drawing/2014/main" id="{0EEF5601-A8BC-411D-AA64-3E79320BA1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0" y="0"/>
            <a:ext cx="4584734"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a:extLst>
              <a:ext uri="{FF2B5EF4-FFF2-40B4-BE49-F238E27FC236}">
                <a16:creationId xmlns:a16="http://schemas.microsoft.com/office/drawing/2014/main" id="{33209156-242F-4B26-8D07-CEB2B68A9F9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84734"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18545599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335209" y="414155"/>
            <a:ext cx="7067536" cy="584775"/>
          </a:xfrm>
          <a:prstGeom prst="rect">
            <a:avLst/>
          </a:prstGeom>
          <a:noFill/>
        </p:spPr>
        <p:txBody>
          <a:bodyPr wrap="square" rtlCol="0">
            <a:spAutoFit/>
          </a:bodyPr>
          <a:lstStyle/>
          <a:p>
            <a:pPr algn="ctr"/>
            <a:r>
              <a:rPr lang="en-US" sz="3200" b="1">
                <a:latin typeface="Montserrat" panose="020B0604020202020204" charset="0"/>
              </a:rPr>
              <a:t>OSHE/EOF Team</a:t>
            </a:r>
          </a:p>
        </p:txBody>
      </p:sp>
      <p:sp>
        <p:nvSpPr>
          <p:cNvPr id="8" name="TextBox 7"/>
          <p:cNvSpPr txBox="1"/>
          <p:nvPr/>
        </p:nvSpPr>
        <p:spPr>
          <a:xfrm>
            <a:off x="1993979" y="1499386"/>
            <a:ext cx="3871495" cy="5016758"/>
          </a:xfrm>
          <a:prstGeom prst="rect">
            <a:avLst/>
          </a:prstGeom>
          <a:noFill/>
          <a:ln>
            <a:noFill/>
          </a:ln>
        </p:spPr>
        <p:txBody>
          <a:bodyPr wrap="square" lIns="91440" tIns="45720" rIns="91440" bIns="45720" rtlCol="0" anchor="t">
            <a:spAutoFit/>
          </a:bodyPr>
          <a:lstStyle/>
          <a:p>
            <a:pPr fontAlgn="base"/>
            <a:r>
              <a:rPr lang="en-US" sz="1600" b="1">
                <a:latin typeface="Karla" panose="020B0604020202020204" charset="0"/>
              </a:rPr>
              <a:t>Dr. Hasani Carter      </a:t>
            </a:r>
            <a:r>
              <a:rPr lang="en-US" sz="1600">
                <a:latin typeface="Karla" panose="020B0604020202020204" charset="0"/>
              </a:rPr>
              <a:t>​​</a:t>
            </a:r>
          </a:p>
          <a:p>
            <a:pPr fontAlgn="base"/>
            <a:r>
              <a:rPr lang="en-US" sz="1600" u="sng">
                <a:latin typeface="Karla"/>
                <a:hlinkClick r:id="rId2"/>
              </a:rPr>
              <a:t>Hasani.Carter@oshe.nj.gov</a:t>
            </a:r>
            <a:r>
              <a:rPr lang="en-US" sz="1600">
                <a:latin typeface="Karla"/>
              </a:rPr>
              <a:t>   ​​</a:t>
            </a:r>
          </a:p>
          <a:p>
            <a:pPr fontAlgn="base"/>
            <a:r>
              <a:rPr lang="en-US" sz="1600">
                <a:latin typeface="Karla" panose="020B0604020202020204" charset="0"/>
              </a:rPr>
              <a:t>(609) 341-3808​​</a:t>
            </a:r>
          </a:p>
          <a:p>
            <a:pPr fontAlgn="base"/>
            <a:r>
              <a:rPr lang="en-US" sz="1600">
                <a:latin typeface="Karla" panose="020B0604020202020204" charset="0"/>
              </a:rPr>
              <a:t>​​</a:t>
            </a:r>
          </a:p>
          <a:p>
            <a:pPr fontAlgn="base"/>
            <a:r>
              <a:rPr lang="en-US" sz="1600" b="1">
                <a:latin typeface="Karla" panose="020B0604020202020204" charset="0"/>
              </a:rPr>
              <a:t>Peter Collazo    </a:t>
            </a:r>
            <a:r>
              <a:rPr lang="en-US" sz="1600">
                <a:latin typeface="Karla" panose="020B0604020202020204" charset="0"/>
              </a:rPr>
              <a:t>​​</a:t>
            </a:r>
          </a:p>
          <a:p>
            <a:pPr fontAlgn="base"/>
            <a:r>
              <a:rPr lang="en-US" sz="1600" u="sng">
                <a:latin typeface="Karla"/>
                <a:hlinkClick r:id="rId3"/>
              </a:rPr>
              <a:t>Peter.Collazo@oshe.nj.gov</a:t>
            </a:r>
            <a:r>
              <a:rPr lang="en-US" sz="1600">
                <a:latin typeface="Karla"/>
              </a:rPr>
              <a:t> ​​</a:t>
            </a:r>
          </a:p>
          <a:p>
            <a:pPr fontAlgn="base"/>
            <a:r>
              <a:rPr lang="en-US" sz="1600">
                <a:latin typeface="Karla"/>
              </a:rPr>
              <a:t>(609) 273-9090</a:t>
            </a:r>
            <a:endParaRPr lang="en-US" sz="1600">
              <a:latin typeface="Karla" panose="020B0604020202020204" charset="0"/>
            </a:endParaRPr>
          </a:p>
          <a:p>
            <a:pPr fontAlgn="base"/>
            <a:r>
              <a:rPr lang="en-US" sz="1600">
                <a:latin typeface="Karla" panose="020B0604020202020204" charset="0"/>
              </a:rPr>
              <a:t>​​</a:t>
            </a:r>
          </a:p>
          <a:p>
            <a:pPr fontAlgn="base"/>
            <a:r>
              <a:rPr lang="en-US" sz="1600" b="1">
                <a:latin typeface="Karla" panose="020B0604020202020204" charset="0"/>
              </a:rPr>
              <a:t>Hema Patel</a:t>
            </a:r>
            <a:r>
              <a:rPr lang="en-US" sz="1600">
                <a:latin typeface="Karla" panose="020B0604020202020204" charset="0"/>
              </a:rPr>
              <a:t>​​</a:t>
            </a:r>
          </a:p>
          <a:p>
            <a:pPr fontAlgn="base"/>
            <a:r>
              <a:rPr lang="en-US" sz="1600" u="sng">
                <a:latin typeface="Karla"/>
                <a:hlinkClick r:id="rId4"/>
              </a:rPr>
              <a:t>Hema.Patel@oshe.nj.gov</a:t>
            </a:r>
            <a:r>
              <a:rPr lang="en-US" sz="1600">
                <a:latin typeface="Karla"/>
              </a:rPr>
              <a:t>​​</a:t>
            </a:r>
          </a:p>
          <a:p>
            <a:pPr fontAlgn="base"/>
            <a:r>
              <a:rPr lang="en-US" sz="1600">
                <a:latin typeface="Karla" panose="020B0604020202020204" charset="0"/>
              </a:rPr>
              <a:t>(609) 984-3751​​</a:t>
            </a:r>
          </a:p>
          <a:p>
            <a:pPr fontAlgn="base"/>
            <a:r>
              <a:rPr lang="en-US" sz="1600">
                <a:latin typeface="Karla" panose="020B0604020202020204" charset="0"/>
              </a:rPr>
              <a:t>​​</a:t>
            </a:r>
          </a:p>
          <a:p>
            <a:pPr fontAlgn="base"/>
            <a:r>
              <a:rPr lang="en-US" sz="1600" b="1">
                <a:latin typeface="Karla" panose="020B0604020202020204" charset="0"/>
              </a:rPr>
              <a:t>Catherine Sackey</a:t>
            </a:r>
            <a:r>
              <a:rPr lang="en-US" sz="1600">
                <a:latin typeface="Karla" panose="020B0604020202020204" charset="0"/>
              </a:rPr>
              <a:t>​​</a:t>
            </a:r>
          </a:p>
          <a:p>
            <a:pPr fontAlgn="base"/>
            <a:r>
              <a:rPr lang="en-US" sz="1600" u="sng">
                <a:latin typeface="Karla"/>
                <a:hlinkClick r:id="rId5"/>
              </a:rPr>
              <a:t>Catherine.Sackey@oshe.nj.gov</a:t>
            </a:r>
            <a:r>
              <a:rPr lang="en-US" sz="1600">
                <a:latin typeface="Karla"/>
                <a:hlinkClick r:id="rId5"/>
              </a:rPr>
              <a:t>​​</a:t>
            </a:r>
            <a:endParaRPr lang="en-US" sz="1600">
              <a:latin typeface="Karla" panose="020B0604020202020204" charset="0"/>
              <a:hlinkClick r:id="rId5"/>
            </a:endParaRPr>
          </a:p>
          <a:p>
            <a:r>
              <a:rPr lang="en-US" sz="1600">
                <a:latin typeface="Karla"/>
              </a:rPr>
              <a:t>(609) 633-6909</a:t>
            </a:r>
          </a:p>
          <a:p>
            <a:pPr fontAlgn="base"/>
            <a:r>
              <a:rPr lang="en-US" sz="1600">
                <a:latin typeface="Karla" panose="020B0604020202020204" charset="0"/>
              </a:rPr>
              <a:t>​​</a:t>
            </a:r>
          </a:p>
          <a:p>
            <a:pPr fontAlgn="base"/>
            <a:r>
              <a:rPr lang="en-US" sz="1600" b="1">
                <a:latin typeface="Karla" panose="020B0604020202020204" charset="0"/>
              </a:rPr>
              <a:t>Dr. Stephanie Shanklin</a:t>
            </a:r>
            <a:r>
              <a:rPr lang="en-US" sz="1600">
                <a:latin typeface="Karla" panose="020B0604020202020204" charset="0"/>
              </a:rPr>
              <a:t>​​</a:t>
            </a:r>
          </a:p>
          <a:p>
            <a:pPr fontAlgn="base"/>
            <a:r>
              <a:rPr lang="en-US" sz="1600" u="sng">
                <a:latin typeface="Karla"/>
                <a:hlinkClick r:id="rId6"/>
              </a:rPr>
              <a:t>Stephanie.Shanklin@oshe.nj.gov</a:t>
            </a:r>
            <a:r>
              <a:rPr lang="en-US" sz="1600">
                <a:latin typeface="Karla"/>
              </a:rPr>
              <a:t>​​</a:t>
            </a:r>
          </a:p>
          <a:p>
            <a:pPr fontAlgn="base"/>
            <a:r>
              <a:rPr lang="en-US" sz="1600">
                <a:latin typeface="Karla" panose="020B0604020202020204" charset="0"/>
              </a:rPr>
              <a:t>(609) 984-3751​​</a:t>
            </a:r>
          </a:p>
          <a:p>
            <a:pPr algn="ctr"/>
            <a:endParaRPr lang="en-US" sz="1600" b="1"/>
          </a:p>
        </p:txBody>
      </p:sp>
      <p:sp>
        <p:nvSpPr>
          <p:cNvPr id="9" name="TextBox 8"/>
          <p:cNvSpPr txBox="1"/>
          <p:nvPr/>
        </p:nvSpPr>
        <p:spPr>
          <a:xfrm flipH="1">
            <a:off x="2335208" y="906598"/>
            <a:ext cx="7241060" cy="307777"/>
          </a:xfrm>
          <a:prstGeom prst="rect">
            <a:avLst/>
          </a:prstGeom>
          <a:noFill/>
        </p:spPr>
        <p:txBody>
          <a:bodyPr wrap="square" rtlCol="0">
            <a:spAutoFit/>
          </a:bodyPr>
          <a:lstStyle/>
          <a:p>
            <a:pPr lvl="1"/>
            <a:r>
              <a:rPr lang="en-US" sz="1400" b="1"/>
              <a:t>Website: </a:t>
            </a:r>
            <a:r>
              <a:rPr lang="en-US" sz="1400">
                <a:solidFill>
                  <a:srgbClr val="0070C0"/>
                </a:solidFill>
              </a:rPr>
              <a:t>http://www.state.nj.us/highereducation/EOF/EOF_Program_Resources.shtml</a:t>
            </a:r>
          </a:p>
        </p:txBody>
      </p:sp>
      <p:sp>
        <p:nvSpPr>
          <p:cNvPr id="6" name="TextBox 5"/>
          <p:cNvSpPr txBox="1"/>
          <p:nvPr/>
        </p:nvSpPr>
        <p:spPr>
          <a:xfrm>
            <a:off x="6206703" y="1491373"/>
            <a:ext cx="3196042" cy="646331"/>
          </a:xfrm>
          <a:prstGeom prst="rect">
            <a:avLst/>
          </a:prstGeom>
          <a:noFill/>
          <a:ln>
            <a:noFill/>
          </a:ln>
        </p:spPr>
        <p:txBody>
          <a:bodyPr wrap="square" rtlCol="0">
            <a:spAutoFit/>
          </a:bodyPr>
          <a:lstStyle/>
          <a:p>
            <a:pPr algn="ctr"/>
            <a:r>
              <a:rPr lang="en-US" b="1" u="sng"/>
              <a:t>EOF receives assistance from OSHE Department of Finance: </a:t>
            </a:r>
          </a:p>
        </p:txBody>
      </p:sp>
      <p:sp>
        <p:nvSpPr>
          <p:cNvPr id="7" name="TextBox 6"/>
          <p:cNvSpPr txBox="1"/>
          <p:nvPr/>
        </p:nvSpPr>
        <p:spPr>
          <a:xfrm>
            <a:off x="6206705" y="2137704"/>
            <a:ext cx="3131260" cy="3539430"/>
          </a:xfrm>
          <a:prstGeom prst="rect">
            <a:avLst/>
          </a:prstGeom>
          <a:noFill/>
          <a:ln>
            <a:noFill/>
          </a:ln>
        </p:spPr>
        <p:txBody>
          <a:bodyPr wrap="square" lIns="91440" tIns="45720" rIns="91440" bIns="45720" rtlCol="0" anchor="t">
            <a:spAutoFit/>
          </a:bodyPr>
          <a:lstStyle/>
          <a:p>
            <a:pPr algn="ctr"/>
            <a:endParaRPr lang="en-US" sz="1600"/>
          </a:p>
          <a:p>
            <a:pPr algn="ctr"/>
            <a:r>
              <a:rPr lang="en-US" b="1" dirty="0"/>
              <a:t>Angela Bethea</a:t>
            </a:r>
            <a:endParaRPr lang="en-US" b="1" dirty="0">
              <a:cs typeface="Calibri"/>
            </a:endParaRPr>
          </a:p>
          <a:p>
            <a:pPr algn="ctr"/>
            <a:r>
              <a:rPr lang="en-US" dirty="0">
                <a:hlinkClick r:id="rId7"/>
              </a:rPr>
              <a:t>Angela.Bethea@oshe.nj.gov</a:t>
            </a:r>
            <a:endParaRPr lang="en-US" dirty="0"/>
          </a:p>
          <a:p>
            <a:pPr algn="ctr"/>
            <a:endParaRPr lang="en-US"/>
          </a:p>
          <a:p>
            <a:pPr algn="ctr"/>
            <a:r>
              <a:rPr lang="en-US" b="1" dirty="0"/>
              <a:t>Kevin </a:t>
            </a:r>
            <a:r>
              <a:rPr lang="en-US" b="1" dirty="0" err="1"/>
              <a:t>Kobylowski</a:t>
            </a:r>
            <a:endParaRPr lang="en-US" b="1" dirty="0" err="1">
              <a:cs typeface="Calibri"/>
            </a:endParaRPr>
          </a:p>
          <a:p>
            <a:pPr algn="ctr"/>
            <a:r>
              <a:rPr lang="en-US" dirty="0">
                <a:hlinkClick r:id="rId8"/>
              </a:rPr>
              <a:t> Kevin.Kobylowski@oshe.nj.gov</a:t>
            </a:r>
            <a:endParaRPr lang="en-US" dirty="0"/>
          </a:p>
          <a:p>
            <a:pPr algn="ctr"/>
            <a:endParaRPr lang="en-US"/>
          </a:p>
          <a:p>
            <a:pPr algn="ctr">
              <a:lnSpc>
                <a:spcPct val="100000"/>
              </a:lnSpc>
              <a:spcBef>
                <a:spcPts val="0"/>
              </a:spcBef>
              <a:spcAft>
                <a:spcPts val="0"/>
              </a:spcAft>
            </a:pPr>
            <a:r>
              <a:rPr lang="en-US" b="1" dirty="0">
                <a:ea typeface="+mn-lt"/>
                <a:cs typeface="+mn-lt"/>
              </a:rPr>
              <a:t>Tiffany Hazzard</a:t>
            </a:r>
            <a:endParaRPr lang="en-US" dirty="0"/>
          </a:p>
          <a:p>
            <a:r>
              <a:rPr lang="en-US" u="sng" dirty="0">
                <a:solidFill>
                  <a:schemeClr val="accent1"/>
                </a:solidFill>
                <a:cs typeface="Calibri"/>
                <a:hlinkClick r:id="rId9">
                  <a:extLst>
                    <a:ext uri="{A12FA001-AC4F-418D-AE19-62706E023703}">
                      <ahyp:hlinkClr xmlns:ahyp="http://schemas.microsoft.com/office/drawing/2018/hyperlinkcolor" val="tx"/>
                    </a:ext>
                  </a:extLst>
                </a:hlinkClick>
              </a:rPr>
              <a:t>   Tiffany.Hazzard@oshe.nj.gov</a:t>
            </a:r>
            <a:endParaRPr lang="en-US" dirty="0">
              <a:solidFill>
                <a:schemeClr val="accent1"/>
              </a:solidFill>
              <a:ea typeface="+mn-lt"/>
              <a:cs typeface="+mn-lt"/>
            </a:endParaRPr>
          </a:p>
          <a:p>
            <a:pPr algn="ctr"/>
            <a:endParaRPr lang="en-US"/>
          </a:p>
          <a:p>
            <a:pPr algn="ctr"/>
            <a:endParaRPr lang="en-US" sz="1600"/>
          </a:p>
          <a:p>
            <a:pPr algn="ctr"/>
            <a:endParaRPr lang="en-US" sz="1600"/>
          </a:p>
          <a:p>
            <a:pPr algn="ctr"/>
            <a:endParaRPr lang="en-US" sz="1400"/>
          </a:p>
        </p:txBody>
      </p:sp>
    </p:spTree>
    <p:extLst>
      <p:ext uri="{BB962C8B-B14F-4D97-AF65-F5344CB8AC3E}">
        <p14:creationId xmlns:p14="http://schemas.microsoft.com/office/powerpoint/2010/main" val="20228364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EE1530B0-6F96-46C0-8B3E-3215CB756BE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85"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754910CF-1B56-45D3-960A-E89F7B3B91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92370" y="516835"/>
            <a:ext cx="3084844" cy="5772840"/>
          </a:xfrm>
        </p:spPr>
        <p:txBody>
          <a:bodyPr anchor="ctr">
            <a:normAutofit/>
          </a:bodyPr>
          <a:lstStyle/>
          <a:p>
            <a:r>
              <a:rPr lang="en-US" sz="3600" b="1">
                <a:solidFill>
                  <a:srgbClr val="FFFFFF"/>
                </a:solidFill>
                <a:latin typeface="Montserrat" panose="020B0604020202020204" charset="0"/>
              </a:rPr>
              <a:t>Purpose and Focus</a:t>
            </a:r>
            <a:endParaRPr lang="en-US" sz="3600">
              <a:solidFill>
                <a:srgbClr val="FFFFFF"/>
              </a:solidFill>
              <a:latin typeface="Montserrat" panose="020B0604020202020204" charset="0"/>
            </a:endParaRPr>
          </a:p>
        </p:txBody>
      </p:sp>
      <p:sp>
        <p:nvSpPr>
          <p:cNvPr id="13" name="Rectangle 12">
            <a:extLst>
              <a:ext uri="{FF2B5EF4-FFF2-40B4-BE49-F238E27FC236}">
                <a16:creationId xmlns:a16="http://schemas.microsoft.com/office/drawing/2014/main" id="{6669F804-A677-4B75-95F4-A5E4426FB77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aphicFrame>
        <p:nvGraphicFramePr>
          <p:cNvPr id="5" name="Content Placeholder 2">
            <a:extLst>
              <a:ext uri="{FF2B5EF4-FFF2-40B4-BE49-F238E27FC236}">
                <a16:creationId xmlns:a16="http://schemas.microsoft.com/office/drawing/2014/main" id="{18A180C9-34EB-72E8-8271-FA349621F8F7}"/>
              </a:ext>
            </a:extLst>
          </p:cNvPr>
          <p:cNvGraphicFramePr>
            <a:graphicFrameLocks noGrp="1"/>
          </p:cNvGraphicFramePr>
          <p:nvPr>
            <p:ph idx="1"/>
            <p:extLst>
              <p:ext uri="{D42A27DB-BD31-4B8C-83A1-F6EECF244321}">
                <p14:modId xmlns:p14="http://schemas.microsoft.com/office/powerpoint/2010/main" val="4129690066"/>
              </p:ext>
            </p:extLst>
          </p:nvPr>
        </p:nvGraphicFramePr>
        <p:xfrm>
          <a:off x="4741863" y="639763"/>
          <a:ext cx="6797675" cy="56499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201965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15">
            <a:extLst>
              <a:ext uri="{FF2B5EF4-FFF2-40B4-BE49-F238E27FC236}">
                <a16:creationId xmlns:a16="http://schemas.microsoft.com/office/drawing/2014/main" id="{EE1530B0-6F96-46C0-8B3E-3215CB756BE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85"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754910CF-1B56-45D3-960A-E89F7B3B91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92370" y="516835"/>
            <a:ext cx="3084844" cy="5772840"/>
          </a:xfrm>
        </p:spPr>
        <p:txBody>
          <a:bodyPr anchor="ctr">
            <a:normAutofit/>
          </a:bodyPr>
          <a:lstStyle/>
          <a:p>
            <a:r>
              <a:rPr lang="en-US" sz="3600" dirty="0">
                <a:solidFill>
                  <a:srgbClr val="FFFFFF"/>
                </a:solidFill>
                <a:ea typeface="+mj-lt"/>
                <a:cs typeface="+mj-lt"/>
              </a:rPr>
              <a:t>EOF Special Project Allocation</a:t>
            </a:r>
            <a:endParaRPr lang="en-US" sz="3600" dirty="0">
              <a:solidFill>
                <a:srgbClr val="FFFFFF"/>
              </a:solidFill>
            </a:endParaRPr>
          </a:p>
        </p:txBody>
      </p:sp>
      <p:sp>
        <p:nvSpPr>
          <p:cNvPr id="31" name="Rectangle 30">
            <a:extLst>
              <a:ext uri="{FF2B5EF4-FFF2-40B4-BE49-F238E27FC236}">
                <a16:creationId xmlns:a16="http://schemas.microsoft.com/office/drawing/2014/main" id="{6669F804-A677-4B75-95F4-A5E4426FB77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aphicFrame>
        <p:nvGraphicFramePr>
          <p:cNvPr id="5" name="Content Placeholder 2">
            <a:extLst>
              <a:ext uri="{FF2B5EF4-FFF2-40B4-BE49-F238E27FC236}">
                <a16:creationId xmlns:a16="http://schemas.microsoft.com/office/drawing/2014/main" id="{18A180C9-34EB-72E8-8271-FA349621F8F7}"/>
              </a:ext>
            </a:extLst>
          </p:cNvPr>
          <p:cNvGraphicFramePr>
            <a:graphicFrameLocks noGrp="1"/>
          </p:cNvGraphicFramePr>
          <p:nvPr>
            <p:ph idx="1"/>
            <p:extLst>
              <p:ext uri="{D42A27DB-BD31-4B8C-83A1-F6EECF244321}">
                <p14:modId xmlns:p14="http://schemas.microsoft.com/office/powerpoint/2010/main" val="4032502866"/>
              </p:ext>
            </p:extLst>
          </p:nvPr>
        </p:nvGraphicFramePr>
        <p:xfrm>
          <a:off x="4741863" y="639763"/>
          <a:ext cx="6797675" cy="56499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871484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25" name="Straight Connector 24">
            <a:extLst>
              <a:ext uri="{FF2B5EF4-FFF2-40B4-BE49-F238E27FC236}">
                <a16:creationId xmlns:a16="http://schemas.microsoft.com/office/drawing/2014/main" id="{C6DEF8F9-FFEF-4EDB-8A06-8A7884ED42E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E0747CA7-2579-4FF5-95CF-E3FA65C9E1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88"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9" name="Rectangle 28">
            <a:extLst>
              <a:ext uri="{FF2B5EF4-FFF2-40B4-BE49-F238E27FC236}">
                <a16:creationId xmlns:a16="http://schemas.microsoft.com/office/drawing/2014/main" id="{1C63BD94-CA0C-4C27-BB07-89F71DEA2D9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44820"/>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useBgFill="1">
        <p:nvSpPr>
          <p:cNvPr id="31" name="Rectangle 30">
            <a:extLst>
              <a:ext uri="{FF2B5EF4-FFF2-40B4-BE49-F238E27FC236}">
                <a16:creationId xmlns:a16="http://schemas.microsoft.com/office/drawing/2014/main" id="{EE1530B0-6F96-46C0-8B3E-3215CB756BE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85"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754910CF-1B56-45D3-960A-E89F7B3B91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idx="4294967295"/>
          </p:nvPr>
        </p:nvSpPr>
        <p:spPr>
          <a:xfrm>
            <a:off x="492370" y="516835"/>
            <a:ext cx="3084844" cy="5772840"/>
          </a:xfrm>
        </p:spPr>
        <p:txBody>
          <a:bodyPr vert="horz" lIns="91440" tIns="45720" rIns="91440" bIns="45720" rtlCol="0" anchor="ctr">
            <a:normAutofit/>
          </a:bodyPr>
          <a:lstStyle/>
          <a:p>
            <a:pPr lvl="0"/>
            <a:r>
              <a:rPr lang="en-US" sz="3600">
                <a:solidFill>
                  <a:srgbClr val="FFFFFF"/>
                </a:solidFill>
              </a:rPr>
              <a:t>Purpose of the EOF Special Project</a:t>
            </a:r>
          </a:p>
        </p:txBody>
      </p:sp>
      <p:sp>
        <p:nvSpPr>
          <p:cNvPr id="35" name="Rectangle 34">
            <a:extLst>
              <a:ext uri="{FF2B5EF4-FFF2-40B4-BE49-F238E27FC236}">
                <a16:creationId xmlns:a16="http://schemas.microsoft.com/office/drawing/2014/main" id="{6669F804-A677-4B75-95F4-A5E4426FB77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Slide Number Placeholder 3"/>
          <p:cNvSpPr>
            <a:spLocks noGrp="1"/>
          </p:cNvSpPr>
          <p:nvPr>
            <p:ph type="sldNum" sz="quarter" idx="12"/>
          </p:nvPr>
        </p:nvSpPr>
        <p:spPr>
          <a:xfrm>
            <a:off x="10123055" y="6459785"/>
            <a:ext cx="1089428" cy="365125"/>
          </a:xfrm>
        </p:spPr>
        <p:txBody>
          <a:bodyPr vert="horz" lIns="91440" tIns="45720" rIns="91440" bIns="45720" rtlCol="0" anchor="ctr">
            <a:normAutofit/>
          </a:bodyPr>
          <a:lstStyle/>
          <a:p>
            <a:pPr defTabSz="457200">
              <a:spcAft>
                <a:spcPts val="600"/>
              </a:spcAft>
            </a:pPr>
            <a:fld id="{82E0CA47-81CF-4842-A6CE-0A6037062406}" type="slidenum">
              <a:rPr lang="en-US">
                <a:solidFill>
                  <a:schemeClr val="tx2"/>
                </a:solidFill>
              </a:rPr>
              <a:pPr defTabSz="457200">
                <a:spcAft>
                  <a:spcPts val="600"/>
                </a:spcAft>
              </a:pPr>
              <a:t>6</a:t>
            </a:fld>
            <a:endParaRPr lang="en-US">
              <a:solidFill>
                <a:schemeClr val="tx2"/>
              </a:solidFill>
            </a:endParaRPr>
          </a:p>
        </p:txBody>
      </p:sp>
      <p:sp>
        <p:nvSpPr>
          <p:cNvPr id="39" name="Rectangle: Rounded Corners 38">
            <a:extLst>
              <a:ext uri="{FF2B5EF4-FFF2-40B4-BE49-F238E27FC236}">
                <a16:creationId xmlns:a16="http://schemas.microsoft.com/office/drawing/2014/main" id="{41D1B30B-C30E-9DE8-144A-D86B049E9D8D}"/>
              </a:ext>
            </a:extLst>
          </p:cNvPr>
          <p:cNvSpPr/>
          <p:nvPr/>
        </p:nvSpPr>
        <p:spPr>
          <a:xfrm>
            <a:off x="4685940" y="332117"/>
            <a:ext cx="7030527" cy="1365848"/>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2400">
                <a:solidFill>
                  <a:schemeClr val="bg1"/>
                </a:solidFill>
                <a:latin typeface="Calibri"/>
                <a:ea typeface="+mn-lt"/>
                <a:cs typeface="+mn-lt"/>
              </a:rPr>
              <a:t>Special Projects (No Institutional Match Required)</a:t>
            </a:r>
          </a:p>
        </p:txBody>
      </p:sp>
      <p:sp>
        <p:nvSpPr>
          <p:cNvPr id="42" name="TextBox 41">
            <a:extLst>
              <a:ext uri="{FF2B5EF4-FFF2-40B4-BE49-F238E27FC236}">
                <a16:creationId xmlns:a16="http://schemas.microsoft.com/office/drawing/2014/main" id="{74B59A42-8F3F-80F0-4951-3926FFCCD5DF}"/>
              </a:ext>
            </a:extLst>
          </p:cNvPr>
          <p:cNvSpPr txBox="1"/>
          <p:nvPr/>
        </p:nvSpPr>
        <p:spPr>
          <a:xfrm>
            <a:off x="4833309" y="6186937"/>
            <a:ext cx="672465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i="1">
                <a:solidFill>
                  <a:schemeClr val="accent2"/>
                </a:solidFill>
                <a:cs typeface="Calibri"/>
              </a:rPr>
              <a:t>Note: Special projects that were approved in previous years may not be approved.</a:t>
            </a:r>
          </a:p>
        </p:txBody>
      </p:sp>
      <p:sp>
        <p:nvSpPr>
          <p:cNvPr id="40" name="Rectangle: Rounded Corners 39">
            <a:extLst>
              <a:ext uri="{FF2B5EF4-FFF2-40B4-BE49-F238E27FC236}">
                <a16:creationId xmlns:a16="http://schemas.microsoft.com/office/drawing/2014/main" id="{D6335993-DB59-0FB6-D1A1-8A5F653B904E}"/>
              </a:ext>
            </a:extLst>
          </p:cNvPr>
          <p:cNvSpPr/>
          <p:nvPr/>
        </p:nvSpPr>
        <p:spPr>
          <a:xfrm>
            <a:off x="4749856" y="1809250"/>
            <a:ext cx="6901131" cy="4111921"/>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rtl="0">
              <a:lnSpc>
                <a:spcPct val="99893"/>
              </a:lnSpc>
            </a:pPr>
            <a:r>
              <a:rPr lang="en-US" sz="1350" baseline="0" dirty="0">
                <a:solidFill>
                  <a:schemeClr val="bg1"/>
                </a:solidFill>
                <a:latin typeface="Calibri"/>
                <a:ea typeface="Segoe UI"/>
                <a:cs typeface="Segoe UI"/>
              </a:rPr>
              <a:t>EOF funds provided for Special Projects is a separate allocation to help create, enhance, and/or promote student leadership and academic support. Special Project areas may include projects that would:</a:t>
            </a:r>
            <a:r>
              <a:rPr lang="en-US" sz="1350" dirty="0">
                <a:solidFill>
                  <a:schemeClr val="bg1"/>
                </a:solidFill>
                <a:latin typeface="Calibri"/>
                <a:ea typeface="Segoe UI"/>
                <a:cs typeface="Segoe UI"/>
              </a:rPr>
              <a:t>​</a:t>
            </a:r>
            <a:endParaRPr lang="en-US" sz="1350">
              <a:solidFill>
                <a:schemeClr val="bg1"/>
              </a:solidFill>
              <a:cs typeface="Calibri"/>
            </a:endParaRPr>
          </a:p>
          <a:p>
            <a:pPr marL="285750" indent="-285750" rtl="0">
              <a:lnSpc>
                <a:spcPct val="99893"/>
              </a:lnSpc>
              <a:buFont typeface="Arial"/>
              <a:buChar char="•"/>
            </a:pPr>
            <a:r>
              <a:rPr lang="en-US" sz="1350" baseline="0" dirty="0">
                <a:solidFill>
                  <a:schemeClr val="bg1"/>
                </a:solidFill>
                <a:latin typeface="Calibri"/>
                <a:ea typeface="Segoe UI"/>
                <a:cs typeface="Segoe UI"/>
              </a:rPr>
              <a:t>Increase student preparation for and/or placement in careers.  </a:t>
            </a:r>
            <a:r>
              <a:rPr lang="en-US" sz="1350" dirty="0">
                <a:solidFill>
                  <a:schemeClr val="bg1"/>
                </a:solidFill>
                <a:latin typeface="Calibri"/>
                <a:ea typeface="Segoe UI"/>
                <a:cs typeface="Segoe UI"/>
              </a:rPr>
              <a:t>​</a:t>
            </a:r>
          </a:p>
          <a:p>
            <a:pPr marL="285750" indent="-285750" rtl="0">
              <a:lnSpc>
                <a:spcPct val="99893"/>
              </a:lnSpc>
              <a:buFont typeface="Arial"/>
              <a:buChar char="•"/>
            </a:pPr>
            <a:r>
              <a:rPr lang="en-US" sz="1350" baseline="0" dirty="0">
                <a:solidFill>
                  <a:schemeClr val="bg1"/>
                </a:solidFill>
                <a:latin typeface="Calibri"/>
                <a:ea typeface="Segoe UI"/>
                <a:cs typeface="Segoe UI"/>
              </a:rPr>
              <a:t>Increase student placement in graduate and professional schools (ex: medicine, law, science, and technology, etc.).</a:t>
            </a:r>
            <a:r>
              <a:rPr lang="en-US" sz="1350" dirty="0">
                <a:solidFill>
                  <a:schemeClr val="bg1"/>
                </a:solidFill>
                <a:latin typeface="Calibri"/>
                <a:ea typeface="Segoe UI"/>
                <a:cs typeface="Segoe UI"/>
              </a:rPr>
              <a:t>​</a:t>
            </a:r>
          </a:p>
          <a:p>
            <a:pPr marL="285750" indent="-285750" rtl="0">
              <a:lnSpc>
                <a:spcPct val="99893"/>
              </a:lnSpc>
              <a:buFont typeface="Arial"/>
              <a:buChar char="•"/>
            </a:pPr>
            <a:r>
              <a:rPr lang="en-US" sz="1350" baseline="0" dirty="0">
                <a:solidFill>
                  <a:schemeClr val="bg1"/>
                </a:solidFill>
                <a:latin typeface="Calibri"/>
                <a:ea typeface="Segoe UI"/>
                <a:cs typeface="Segoe UI"/>
              </a:rPr>
              <a:t>Foster development of exemplary programs that have potential for expansion and/or replication at other institutions. </a:t>
            </a:r>
            <a:r>
              <a:rPr lang="en-US" sz="1350" dirty="0">
                <a:solidFill>
                  <a:schemeClr val="bg1"/>
                </a:solidFill>
                <a:latin typeface="Calibri"/>
                <a:ea typeface="Segoe UI"/>
                <a:cs typeface="Segoe UI"/>
              </a:rPr>
              <a:t>​</a:t>
            </a:r>
          </a:p>
          <a:p>
            <a:pPr marL="285750" indent="-285750" rtl="0">
              <a:lnSpc>
                <a:spcPct val="99893"/>
              </a:lnSpc>
              <a:buFont typeface="Arial"/>
              <a:buChar char="•"/>
            </a:pPr>
            <a:r>
              <a:rPr lang="en-US" sz="1350" baseline="0" dirty="0">
                <a:solidFill>
                  <a:schemeClr val="bg1"/>
                </a:solidFill>
                <a:latin typeface="Calibri"/>
                <a:ea typeface="Segoe UI"/>
                <a:cs typeface="Segoe UI"/>
              </a:rPr>
              <a:t>Improve the efficiency and effectiveness of administrative processes and/or enhance student support initiatives (i.e. provide training for staff to learn how to use new technologies, hiring of additional tutors, counselors, etc.). </a:t>
            </a:r>
            <a:r>
              <a:rPr lang="en-US" sz="1350" dirty="0">
                <a:solidFill>
                  <a:schemeClr val="bg1"/>
                </a:solidFill>
                <a:latin typeface="Calibri"/>
                <a:ea typeface="Segoe UI"/>
                <a:cs typeface="Segoe UI"/>
              </a:rPr>
              <a:t>​</a:t>
            </a:r>
          </a:p>
          <a:p>
            <a:pPr marL="285750" indent="-285750" rtl="0">
              <a:lnSpc>
                <a:spcPct val="99893"/>
              </a:lnSpc>
              <a:buFont typeface="Arial"/>
              <a:buChar char="•"/>
            </a:pPr>
            <a:r>
              <a:rPr lang="en-US" sz="1350" baseline="0" dirty="0">
                <a:solidFill>
                  <a:schemeClr val="bg1"/>
                </a:solidFill>
                <a:latin typeface="Calibri"/>
                <a:ea typeface="Segoe UI"/>
                <a:cs typeface="Segoe UI"/>
              </a:rPr>
              <a:t>Assist students with material hardship by providing support for the cost of textbooks, notebooks, laptops, and other educational supplies.</a:t>
            </a:r>
            <a:r>
              <a:rPr lang="en-US" sz="1350" dirty="0">
                <a:solidFill>
                  <a:schemeClr val="bg1"/>
                </a:solidFill>
                <a:latin typeface="Calibri"/>
                <a:ea typeface="Segoe UI"/>
                <a:cs typeface="Segoe UI"/>
              </a:rPr>
              <a:t>​</a:t>
            </a:r>
          </a:p>
          <a:p>
            <a:pPr marL="285750" indent="-285750" rtl="0">
              <a:lnSpc>
                <a:spcPct val="99893"/>
              </a:lnSpc>
              <a:buFont typeface="Arial"/>
              <a:buChar char="•"/>
            </a:pPr>
            <a:r>
              <a:rPr lang="en-US" sz="1350" baseline="0" dirty="0">
                <a:solidFill>
                  <a:schemeClr val="bg1"/>
                </a:solidFill>
                <a:latin typeface="Calibri"/>
                <a:ea typeface="Segoe UI"/>
                <a:cs typeface="Segoe UI"/>
              </a:rPr>
              <a:t>Programs may seek to provide programming to help address mental health concerns by hiring a part-time counselor. </a:t>
            </a:r>
            <a:r>
              <a:rPr lang="en-US" sz="1350" dirty="0">
                <a:solidFill>
                  <a:schemeClr val="bg1"/>
                </a:solidFill>
                <a:latin typeface="Calibri"/>
                <a:ea typeface="Segoe UI"/>
                <a:cs typeface="Segoe UI"/>
              </a:rPr>
              <a:t>​</a:t>
            </a:r>
          </a:p>
          <a:p>
            <a:pPr marL="285750" indent="-285750" rtl="0">
              <a:lnSpc>
                <a:spcPct val="99893"/>
              </a:lnSpc>
              <a:buFont typeface="Arial"/>
              <a:buChar char="•"/>
            </a:pPr>
            <a:r>
              <a:rPr lang="en-US" sz="1350" baseline="0" dirty="0">
                <a:solidFill>
                  <a:schemeClr val="bg1"/>
                </a:solidFill>
                <a:latin typeface="Calibri"/>
                <a:ea typeface="Segoe UI"/>
                <a:cs typeface="Segoe UI"/>
              </a:rPr>
              <a:t>Provide additional student programming (i.e., guest speakers; workshops; student conference attendance, etc.).</a:t>
            </a:r>
            <a:r>
              <a:rPr lang="en-US" sz="1350" dirty="0">
                <a:solidFill>
                  <a:schemeClr val="bg1"/>
                </a:solidFill>
                <a:latin typeface="Calibri"/>
                <a:ea typeface="Segoe UI"/>
                <a:cs typeface="Segoe UI"/>
              </a:rPr>
              <a:t>​</a:t>
            </a:r>
            <a:endParaRPr lang="en-US" sz="1350" b="1" dirty="0">
              <a:solidFill>
                <a:schemeClr val="bg1"/>
              </a:solidFill>
              <a:cs typeface="Calibri"/>
            </a:endParaRPr>
          </a:p>
        </p:txBody>
      </p:sp>
    </p:spTree>
    <p:extLst>
      <p:ext uri="{BB962C8B-B14F-4D97-AF65-F5344CB8AC3E}">
        <p14:creationId xmlns:p14="http://schemas.microsoft.com/office/powerpoint/2010/main" val="17635380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5" name="Rectangle 24">
            <a:extLst>
              <a:ext uri="{FF2B5EF4-FFF2-40B4-BE49-F238E27FC236}">
                <a16:creationId xmlns:a16="http://schemas.microsoft.com/office/drawing/2014/main" id="{103E59AE-44F8-4FB9-BF05-C888FE3E1DF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1" cy="63343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177212" y="634946"/>
            <a:ext cx="3372529" cy="5055904"/>
          </a:xfrm>
        </p:spPr>
        <p:txBody>
          <a:bodyPr anchor="ctr">
            <a:normAutofit/>
          </a:bodyPr>
          <a:lstStyle/>
          <a:p>
            <a:r>
              <a:rPr lang="en-US" sz="3400">
                <a:latin typeface="Montserrat" panose="020B0604020202020204" charset="0"/>
              </a:rPr>
              <a:t>Narrative Requirements </a:t>
            </a:r>
          </a:p>
        </p:txBody>
      </p:sp>
      <p:cxnSp>
        <p:nvCxnSpPr>
          <p:cNvPr id="26" name="Straight Connector 25">
            <a:extLst>
              <a:ext uri="{FF2B5EF4-FFF2-40B4-BE49-F238E27FC236}">
                <a16:creationId xmlns:a16="http://schemas.microsoft.com/office/drawing/2014/main" id="{2752F38C-F560-47AA-90AD-209F39C0415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856978" y="1791298"/>
            <a:ext cx="0" cy="274320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3194563F-A66F-4B71-9C8D-5610CF13D6B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8" name="Rectangle 27">
            <a:extLst>
              <a:ext uri="{FF2B5EF4-FFF2-40B4-BE49-F238E27FC236}">
                <a16:creationId xmlns:a16="http://schemas.microsoft.com/office/drawing/2014/main" id="{4403595A-19F1-44C4-8C24-6E498B5F72B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Slide Number Placeholder 3"/>
          <p:cNvSpPr>
            <a:spLocks noGrp="1"/>
          </p:cNvSpPr>
          <p:nvPr>
            <p:ph type="sldNum" sz="quarter" idx="12"/>
          </p:nvPr>
        </p:nvSpPr>
        <p:spPr>
          <a:xfrm>
            <a:off x="9900458" y="6459785"/>
            <a:ext cx="1312025" cy="365125"/>
          </a:xfrm>
        </p:spPr>
        <p:txBody>
          <a:bodyPr>
            <a:normAutofit/>
          </a:bodyPr>
          <a:lstStyle/>
          <a:p>
            <a:pPr>
              <a:spcAft>
                <a:spcPts val="600"/>
              </a:spcAft>
            </a:pPr>
            <a:fld id="{82E0CA47-81CF-4842-A6CE-0A6037062406}" type="slidenum">
              <a:rPr lang="en-US" smtClean="0"/>
              <a:pPr>
                <a:spcAft>
                  <a:spcPts val="600"/>
                </a:spcAft>
              </a:pPr>
              <a:t>7</a:t>
            </a:fld>
            <a:endParaRPr lang="en-US"/>
          </a:p>
        </p:txBody>
      </p:sp>
      <p:graphicFrame>
        <p:nvGraphicFramePr>
          <p:cNvPr id="29" name="Content Placeholder 2">
            <a:extLst>
              <a:ext uri="{FF2B5EF4-FFF2-40B4-BE49-F238E27FC236}">
                <a16:creationId xmlns:a16="http://schemas.microsoft.com/office/drawing/2014/main" id="{74222CD5-B6A3-B0D8-DCC4-D6967D78BD82}"/>
              </a:ext>
            </a:extLst>
          </p:cNvPr>
          <p:cNvGraphicFramePr>
            <a:graphicFrameLocks noGrp="1"/>
          </p:cNvGraphicFramePr>
          <p:nvPr>
            <p:ph idx="1"/>
            <p:extLst>
              <p:ext uri="{D42A27DB-BD31-4B8C-83A1-F6EECF244321}">
                <p14:modId xmlns:p14="http://schemas.microsoft.com/office/powerpoint/2010/main" val="659686840"/>
              </p:ext>
            </p:extLst>
          </p:nvPr>
        </p:nvGraphicFramePr>
        <p:xfrm>
          <a:off x="633413" y="639763"/>
          <a:ext cx="6910387" cy="50514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842789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EC8791-28AC-4AD9-6552-0C5828D2F93D}"/>
              </a:ext>
            </a:extLst>
          </p:cNvPr>
          <p:cNvSpPr>
            <a:spLocks noGrp="1"/>
          </p:cNvSpPr>
          <p:nvPr>
            <p:ph type="title"/>
          </p:nvPr>
        </p:nvSpPr>
        <p:spPr>
          <a:xfrm>
            <a:off x="1097280" y="286603"/>
            <a:ext cx="10058400" cy="1450757"/>
          </a:xfrm>
        </p:spPr>
        <p:txBody>
          <a:bodyPr>
            <a:normAutofit/>
          </a:bodyPr>
          <a:lstStyle/>
          <a:p>
            <a:r>
              <a:rPr lang="en-US">
                <a:cs typeface="Calibri Light"/>
              </a:rPr>
              <a:t>Partnerships &amp; Collaborations </a:t>
            </a:r>
            <a:endParaRPr lang="en-US"/>
          </a:p>
        </p:txBody>
      </p:sp>
      <p:sp>
        <p:nvSpPr>
          <p:cNvPr id="4" name="Slide Number Placeholder 3">
            <a:extLst>
              <a:ext uri="{FF2B5EF4-FFF2-40B4-BE49-F238E27FC236}">
                <a16:creationId xmlns:a16="http://schemas.microsoft.com/office/drawing/2014/main" id="{FCC0452B-5016-A6FF-830A-C041212EF828}"/>
              </a:ext>
            </a:extLst>
          </p:cNvPr>
          <p:cNvSpPr>
            <a:spLocks noGrp="1"/>
          </p:cNvSpPr>
          <p:nvPr>
            <p:ph type="sldNum" sz="quarter" idx="12"/>
          </p:nvPr>
        </p:nvSpPr>
        <p:spPr>
          <a:xfrm>
            <a:off x="9900458" y="6459785"/>
            <a:ext cx="1312025" cy="365125"/>
          </a:xfrm>
        </p:spPr>
        <p:txBody>
          <a:bodyPr>
            <a:normAutofit/>
          </a:bodyPr>
          <a:lstStyle/>
          <a:p>
            <a:pPr>
              <a:spcAft>
                <a:spcPts val="600"/>
              </a:spcAft>
            </a:pPr>
            <a:fld id="{82E0CA47-81CF-4842-A6CE-0A6037062406}" type="slidenum">
              <a:rPr lang="en-US" smtClean="0"/>
              <a:pPr>
                <a:spcAft>
                  <a:spcPts val="600"/>
                </a:spcAft>
              </a:pPr>
              <a:t>8</a:t>
            </a:fld>
            <a:endParaRPr lang="en-US"/>
          </a:p>
        </p:txBody>
      </p:sp>
      <p:graphicFrame>
        <p:nvGraphicFramePr>
          <p:cNvPr id="6" name="Content Placeholder 2">
            <a:extLst>
              <a:ext uri="{FF2B5EF4-FFF2-40B4-BE49-F238E27FC236}">
                <a16:creationId xmlns:a16="http://schemas.microsoft.com/office/drawing/2014/main" id="{0183A03C-A154-BBF2-2AB1-58E29437F211}"/>
              </a:ext>
            </a:extLst>
          </p:cNvPr>
          <p:cNvGraphicFramePr>
            <a:graphicFrameLocks noGrp="1"/>
          </p:cNvGraphicFramePr>
          <p:nvPr>
            <p:ph idx="1"/>
            <p:extLst>
              <p:ext uri="{D42A27DB-BD31-4B8C-83A1-F6EECF244321}">
                <p14:modId xmlns:p14="http://schemas.microsoft.com/office/powerpoint/2010/main" val="3914042673"/>
              </p:ext>
            </p:extLst>
          </p:nvPr>
        </p:nvGraphicFramePr>
        <p:xfrm>
          <a:off x="1096963" y="2098515"/>
          <a:ext cx="10058400" cy="3786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5" name="TextBox 94">
            <a:extLst>
              <a:ext uri="{FF2B5EF4-FFF2-40B4-BE49-F238E27FC236}">
                <a16:creationId xmlns:a16="http://schemas.microsoft.com/office/drawing/2014/main" id="{A4683636-E983-C5A1-9800-4C75CEF1B0A2}"/>
              </a:ext>
            </a:extLst>
          </p:cNvPr>
          <p:cNvSpPr txBox="1"/>
          <p:nvPr/>
        </p:nvSpPr>
        <p:spPr>
          <a:xfrm>
            <a:off x="1268330" y="5905501"/>
            <a:ext cx="988193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                                        Note: The primary host will be the primary contact person.</a:t>
            </a:r>
            <a:endParaRPr lang="en-US"/>
          </a:p>
        </p:txBody>
      </p:sp>
    </p:spTree>
    <p:extLst>
      <p:ext uri="{BB962C8B-B14F-4D97-AF65-F5344CB8AC3E}">
        <p14:creationId xmlns:p14="http://schemas.microsoft.com/office/powerpoint/2010/main" val="17769954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7" name="Rectangle 26">
            <a:extLst>
              <a:ext uri="{FF2B5EF4-FFF2-40B4-BE49-F238E27FC236}">
                <a16:creationId xmlns:a16="http://schemas.microsoft.com/office/drawing/2014/main" id="{EE1530B0-6F96-46C0-8B3E-3215CB756BE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685" y="0"/>
            <a:ext cx="12186315" cy="6858000"/>
          </a:xfrm>
          <a:prstGeom prst="rect">
            <a:avLst/>
          </a:prstGeom>
          <a:ln>
            <a:noFill/>
          </a:ln>
        </p:spPr>
        <p:style>
          <a:lnRef idx="2">
            <a:schemeClr val="accent6">
              <a:shade val="50000"/>
            </a:schemeClr>
          </a:lnRef>
          <a:fillRef idx="1001">
            <a:schemeClr val="lt1"/>
          </a:fillRef>
          <a:effectRef idx="0">
            <a:schemeClr val="accent6"/>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754910CF-1B56-45D3-960A-E89F7B3B91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92370" y="516835"/>
            <a:ext cx="3084844" cy="5772840"/>
          </a:xfrm>
        </p:spPr>
        <p:txBody>
          <a:bodyPr anchor="ctr">
            <a:normAutofit/>
          </a:bodyPr>
          <a:lstStyle/>
          <a:p>
            <a:pPr lvl="0"/>
            <a:r>
              <a:rPr lang="en-US" sz="3300">
                <a:solidFill>
                  <a:srgbClr val="FFFFFF"/>
                </a:solidFill>
                <a:latin typeface="Montserrat" panose="020B0604020202020204" charset="0"/>
              </a:rPr>
              <a:t>Budget, Activities, and Expenditures</a:t>
            </a:r>
          </a:p>
        </p:txBody>
      </p:sp>
      <p:sp>
        <p:nvSpPr>
          <p:cNvPr id="31" name="Rectangle 30">
            <a:extLst>
              <a:ext uri="{FF2B5EF4-FFF2-40B4-BE49-F238E27FC236}">
                <a16:creationId xmlns:a16="http://schemas.microsoft.com/office/drawing/2014/main" id="{6669F804-A677-4B75-95F4-A5E4426FB77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Slide Number Placeholder 3"/>
          <p:cNvSpPr>
            <a:spLocks noGrp="1"/>
          </p:cNvSpPr>
          <p:nvPr>
            <p:ph type="sldNum" sz="quarter" idx="12"/>
          </p:nvPr>
        </p:nvSpPr>
        <p:spPr>
          <a:xfrm>
            <a:off x="10123055" y="6459785"/>
            <a:ext cx="1089428" cy="365125"/>
          </a:xfrm>
        </p:spPr>
        <p:txBody>
          <a:bodyPr>
            <a:normAutofit/>
          </a:bodyPr>
          <a:lstStyle/>
          <a:p>
            <a:pPr>
              <a:spcAft>
                <a:spcPts val="600"/>
              </a:spcAft>
            </a:pPr>
            <a:fld id="{82E0CA47-81CF-4842-A6CE-0A6037062406}" type="slidenum">
              <a:rPr lang="en-US">
                <a:solidFill>
                  <a:schemeClr val="tx2"/>
                </a:solidFill>
              </a:rPr>
              <a:pPr>
                <a:spcAft>
                  <a:spcPts val="600"/>
                </a:spcAft>
              </a:pPr>
              <a:t>9</a:t>
            </a:fld>
            <a:endParaRPr lang="en-US">
              <a:solidFill>
                <a:schemeClr val="tx2"/>
              </a:solidFill>
            </a:endParaRPr>
          </a:p>
        </p:txBody>
      </p:sp>
      <p:graphicFrame>
        <p:nvGraphicFramePr>
          <p:cNvPr id="23" name="Content Placeholder 2">
            <a:extLst>
              <a:ext uri="{FF2B5EF4-FFF2-40B4-BE49-F238E27FC236}">
                <a16:creationId xmlns:a16="http://schemas.microsoft.com/office/drawing/2014/main" id="{A5EAF8FA-BFA7-24CE-DC03-173D26B42DAA}"/>
              </a:ext>
            </a:extLst>
          </p:cNvPr>
          <p:cNvGraphicFramePr>
            <a:graphicFrameLocks noGrp="1"/>
          </p:cNvGraphicFramePr>
          <p:nvPr>
            <p:ph idx="1"/>
            <p:extLst>
              <p:ext uri="{D42A27DB-BD31-4B8C-83A1-F6EECF244321}">
                <p14:modId xmlns:p14="http://schemas.microsoft.com/office/powerpoint/2010/main" val="1687948516"/>
              </p:ext>
            </p:extLst>
          </p:nvPr>
        </p:nvGraphicFramePr>
        <p:xfrm>
          <a:off x="4699530" y="512763"/>
          <a:ext cx="6797675" cy="56499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1318735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ISLEGEND" val="true"/>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2.xml><?xml version="1.0" encoding="utf-8"?>
<p:tagLst xmlns:a="http://schemas.openxmlformats.org/drawingml/2006/main" xmlns:r="http://schemas.openxmlformats.org/officeDocument/2006/relationships" xmlns:p="http://schemas.openxmlformats.org/presentationml/2006/main">
  <p:tag name="ISLEGEND" val="true"/>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1rRm8uqScu4MeVPAQgvI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qYcVrRtbWaUAvDeXgTBAg"/>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ISLEGEND" val="true"/>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heme/theme1.xml><?xml version="1.0" encoding="utf-8"?>
<a:theme xmlns:a="http://schemas.openxmlformats.org/drawingml/2006/main" name="Retrospect">
  <a:themeElements>
    <a:clrScheme name="Custom 2">
      <a:dk1>
        <a:sysClr val="windowText" lastClr="000000"/>
      </a:dk1>
      <a:lt1>
        <a:sysClr val="window" lastClr="FFFFFF"/>
      </a:lt1>
      <a:dk2>
        <a:srgbClr val="455F51"/>
      </a:dk2>
      <a:lt2>
        <a:srgbClr val="E3DED1"/>
      </a:lt2>
      <a:accent1>
        <a:srgbClr val="549E39"/>
      </a:accent1>
      <a:accent2>
        <a:srgbClr val="0B3954"/>
      </a:accent2>
      <a:accent3>
        <a:srgbClr val="C0CF3A"/>
      </a:accent3>
      <a:accent4>
        <a:srgbClr val="029676"/>
      </a:accent4>
      <a:accent5>
        <a:srgbClr val="4AB5C4"/>
      </a:accent5>
      <a:accent6>
        <a:srgbClr val="0989B1"/>
      </a:accent6>
      <a:hlink>
        <a:srgbClr val="6B9F25"/>
      </a:hlink>
      <a:folHlink>
        <a:srgbClr val="BA6906"/>
      </a:folHlink>
    </a:clrScheme>
    <a:fontScheme name="Retrospect">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9CC26709-368C-4D72-9060-94E5B3FF3CD6}"/>
    </a:ext>
  </a:extLst>
</a:theme>
</file>

<file path=ppt/theme/theme2.xml><?xml version="1.0" encoding="utf-8"?>
<a:theme xmlns:a="http://schemas.openxmlformats.org/drawingml/2006/main" name="1_Template_US0168">
  <a:themeElements>
    <a:clrScheme name="Custom 1">
      <a:dk1>
        <a:srgbClr val="000000"/>
      </a:dk1>
      <a:lt1>
        <a:srgbClr val="FFFFFF"/>
      </a:lt1>
      <a:dk2>
        <a:srgbClr val="0078AE"/>
      </a:dk2>
      <a:lt2>
        <a:srgbClr val="00B3E2"/>
      </a:lt2>
      <a:accent1>
        <a:srgbClr val="0078AE"/>
      </a:accent1>
      <a:accent2>
        <a:srgbClr val="84BD00"/>
      </a:accent2>
      <a:accent3>
        <a:srgbClr val="00B3E2"/>
      </a:accent3>
      <a:accent4>
        <a:srgbClr val="005B82"/>
      </a:accent4>
      <a:accent5>
        <a:srgbClr val="BABCBE"/>
      </a:accent5>
      <a:accent6>
        <a:srgbClr val="799B3E"/>
      </a:accent6>
      <a:hlink>
        <a:srgbClr val="0078AE"/>
      </a:hlink>
      <a:folHlink>
        <a:srgbClr val="FFC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94FA3"/>
        </a:dk2>
        <a:lt2>
          <a:srgbClr val="4390BB"/>
        </a:lt2>
        <a:accent1>
          <a:srgbClr val="CFD3D9"/>
        </a:accent1>
        <a:accent2>
          <a:srgbClr val="808080"/>
        </a:accent2>
        <a:accent3>
          <a:srgbClr val="568975"/>
        </a:accent3>
        <a:accent4>
          <a:srgbClr val="0070C0"/>
        </a:accent4>
        <a:accent5>
          <a:srgbClr val="B83536"/>
        </a:accent5>
        <a:accent6>
          <a:srgbClr val="808080"/>
        </a:accent6>
        <a:hlink>
          <a:srgbClr val="568975"/>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orkplan_v01.potx" id="{A5A9A795-2CC4-4577-B947-1DFBD041165C}" vid="{20D7C85B-426A-48A4-BC77-47F985C7AFE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a603f884-b540-452c-82c4-860d23876c00">
      <Terms xmlns="http://schemas.microsoft.com/office/infopath/2007/PartnerControls"/>
    </lcf76f155ced4ddcb4097134ff3c332f>
    <TaxCatchAll xmlns="354e67de-d1e7-4ce6-ab2b-a614e3931bdc"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DA38A61C5CB474E90823DAD6EB0E58E" ma:contentTypeVersion="12" ma:contentTypeDescription="Create a new document." ma:contentTypeScope="" ma:versionID="17300d08d8d0e8a6a1882f6081bf555a">
  <xsd:schema xmlns:xsd="http://www.w3.org/2001/XMLSchema" xmlns:xs="http://www.w3.org/2001/XMLSchema" xmlns:p="http://schemas.microsoft.com/office/2006/metadata/properties" xmlns:ns2="a603f884-b540-452c-82c4-860d23876c00" xmlns:ns3="354e67de-d1e7-4ce6-ab2b-a614e3931bdc" targetNamespace="http://schemas.microsoft.com/office/2006/metadata/properties" ma:root="true" ma:fieldsID="a4b8a9afb069cf952c4c5cc2e7722274" ns2:_="" ns3:_="">
    <xsd:import namespace="a603f884-b540-452c-82c4-860d23876c00"/>
    <xsd:import namespace="354e67de-d1e7-4ce6-ab2b-a614e3931bd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03f884-b540-452c-82c4-860d23876c0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c81b0449-a7ed-439f-be55-0163d7004e4f"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54e67de-d1e7-4ce6-ab2b-a614e3931bd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bb95d03b-f7c4-40eb-a950-c08c4e45b2aa}" ma:internalName="TaxCatchAll" ma:showField="CatchAllData" ma:web="354e67de-d1e7-4ce6-ab2b-a614e3931bd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E47FBF-4129-477F-AB33-EC99792680E3}">
  <ds:schemaRefs>
    <ds:schemaRef ds:uri="http://schemas.microsoft.com/office/2006/metadata/properties"/>
    <ds:schemaRef ds:uri="http://schemas.microsoft.com/office/2006/documentManagement/types"/>
    <ds:schemaRef ds:uri="http://purl.org/dc/elements/1.1/"/>
    <ds:schemaRef ds:uri="http://schemas.openxmlformats.org/package/2006/metadata/core-properties"/>
    <ds:schemaRef ds:uri="http://purl.org/dc/terms/"/>
    <ds:schemaRef ds:uri="http://schemas.microsoft.com/office/infopath/2007/PartnerControls"/>
    <ds:schemaRef ds:uri="http://purl.org/dc/dcmitype/"/>
    <ds:schemaRef ds:uri="354e67de-d1e7-4ce6-ab2b-a614e3931bdc"/>
    <ds:schemaRef ds:uri="a603f884-b540-452c-82c4-860d23876c00"/>
    <ds:schemaRef ds:uri="http://www.w3.org/XML/1998/namespace"/>
  </ds:schemaRefs>
</ds:datastoreItem>
</file>

<file path=customXml/itemProps2.xml><?xml version="1.0" encoding="utf-8"?>
<ds:datastoreItem xmlns:ds="http://schemas.openxmlformats.org/officeDocument/2006/customXml" ds:itemID="{8CC79198-8023-4DEB-A37B-D2FD72F1456D}">
  <ds:schemaRefs>
    <ds:schemaRef ds:uri="354e67de-d1e7-4ce6-ab2b-a614e3931bdc"/>
    <ds:schemaRef ds:uri="a603f884-b540-452c-82c4-860d23876c0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438E3C1-65BE-4E9F-8693-DF19891D782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3</TotalTime>
  <Words>1291</Words>
  <Application>Microsoft Office PowerPoint</Application>
  <PresentationFormat>Widescreen</PresentationFormat>
  <Paragraphs>131</Paragraphs>
  <Slides>15</Slides>
  <Notes>2</Notes>
  <HiddenSlides>0</HiddenSlides>
  <MMClips>0</MMClips>
  <ScaleCrop>false</ScaleCrop>
  <HeadingPairs>
    <vt:vector size="4" baseType="variant">
      <vt:variant>
        <vt:lpstr>Theme</vt:lpstr>
      </vt:variant>
      <vt:variant>
        <vt:i4>2</vt:i4>
      </vt:variant>
      <vt:variant>
        <vt:lpstr>Slide Titles</vt:lpstr>
      </vt:variant>
      <vt:variant>
        <vt:i4>15</vt:i4>
      </vt:variant>
    </vt:vector>
  </HeadingPairs>
  <TitlesOfParts>
    <vt:vector size="17" baseType="lpstr">
      <vt:lpstr>Retrospect</vt:lpstr>
      <vt:lpstr>1_Template_US0168</vt:lpstr>
      <vt:lpstr> </vt:lpstr>
      <vt:lpstr>Welcome &amp; Introductions</vt:lpstr>
      <vt:lpstr>PowerPoint Presentation</vt:lpstr>
      <vt:lpstr>Purpose and Focus</vt:lpstr>
      <vt:lpstr>EOF Special Project Allocation</vt:lpstr>
      <vt:lpstr>Purpose of the EOF Special Project</vt:lpstr>
      <vt:lpstr>Narrative Requirements </vt:lpstr>
      <vt:lpstr>Partnerships &amp; Collaborations </vt:lpstr>
      <vt:lpstr>Budget, Activities, and Expenditures</vt:lpstr>
      <vt:lpstr>Encumbered Fund Usage Examples</vt:lpstr>
      <vt:lpstr>Budget Modifications</vt:lpstr>
      <vt:lpstr>Reporting Requirements</vt:lpstr>
      <vt:lpstr>     Deadlines and Submission Requirements:</vt:lpstr>
      <vt:lpstr>PowerPoint Presentation</vt:lpstr>
      <vt:lpstr>PowerPoint Presentation</vt:lpstr>
    </vt:vector>
  </TitlesOfParts>
  <Company>Division of Revenue and Enterprise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plaining NJ Higher Ed</dc:title>
  <dc:creator>OSHE</dc:creator>
  <cp:lastModifiedBy>Shanklin, Stephanie [OSHE]</cp:lastModifiedBy>
  <cp:revision>139</cp:revision>
  <cp:lastPrinted>2020-02-26T23:39:47Z</cp:lastPrinted>
  <dcterms:created xsi:type="dcterms:W3CDTF">2018-07-03T13:04:48Z</dcterms:created>
  <dcterms:modified xsi:type="dcterms:W3CDTF">2024-07-16T16:45: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A38A61C5CB474E90823DAD6EB0E58E</vt:lpwstr>
  </property>
  <property fmtid="{D5CDD505-2E9C-101B-9397-08002B2CF9AE}" pid="3" name="MediaServiceImageTags">
    <vt:lpwstr/>
  </property>
</Properties>
</file>